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660" r:id="rId2"/>
  </p:sldMasterIdLst>
  <p:notesMasterIdLst>
    <p:notesMasterId r:id="rId16"/>
  </p:notesMasterIdLst>
  <p:handoutMasterIdLst>
    <p:handoutMasterId r:id="rId17"/>
  </p:handoutMasterIdLst>
  <p:sldIdLst>
    <p:sldId id="5247" r:id="rId3"/>
    <p:sldId id="2476" r:id="rId4"/>
    <p:sldId id="2552" r:id="rId5"/>
    <p:sldId id="5245" r:id="rId6"/>
    <p:sldId id="5248" r:id="rId7"/>
    <p:sldId id="2553" r:id="rId8"/>
    <p:sldId id="2554" r:id="rId9"/>
    <p:sldId id="5244" r:id="rId10"/>
    <p:sldId id="2555" r:id="rId11"/>
    <p:sldId id="2556" r:id="rId12"/>
    <p:sldId id="2557" r:id="rId13"/>
    <p:sldId id="5243" r:id="rId14"/>
    <p:sldId id="5246" r:id="rId15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E2E2E"/>
    <a:srgbClr val="B9A5BB"/>
    <a:srgbClr val="7FE199"/>
    <a:srgbClr val="D66EF2"/>
    <a:srgbClr val="70DBF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中度样式 2 - 强调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802" autoAdjust="0"/>
    <p:restoredTop sz="77472" autoAdjust="0"/>
  </p:normalViewPr>
  <p:slideViewPr>
    <p:cSldViewPr snapToGrid="0" snapToObjects="1">
      <p:cViewPr varScale="1">
        <p:scale>
          <a:sx n="66" d="100"/>
          <a:sy n="66" d="100"/>
        </p:scale>
        <p:origin x="1474" y="6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napToObjects="1">
      <p:cViewPr varScale="1">
        <p:scale>
          <a:sx n="85" d="100"/>
          <a:sy n="85" d="100"/>
        </p:scale>
        <p:origin x="3928" y="1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10" Type="http://schemas.openxmlformats.org/officeDocument/2006/relationships/slide" Target="slides/slide8.xml"/><Relationship Id="rId19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E6020B0F-11C2-E94B-999B-B50C2E8007F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425C2A18-9C29-E146-94D2-C8DE5A966C9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7073119-C065-9341-AE91-9403C0FF8707}" type="datetimeFigureOut">
              <a:rPr kumimoji="1" lang="zh-CN" altLang="en-US" smtClean="0"/>
              <a:t>2019-7-23</a:t>
            </a:fld>
            <a:endParaRPr kumimoji="1"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41828A02-C556-0D40-84AC-E4AC9351E445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1B65E5C0-11D0-C04B-8F86-C0F7F806DF9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F10FB39-BCED-DF4D-A1C5-E5D93E007558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41742111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94A6EC8-0E07-4109-843F-74BA00436084}" type="datetimeFigureOut">
              <a:rPr lang="zh-CN" altLang="en-US" smtClean="0"/>
              <a:pPr/>
              <a:t>2019-7-23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0011AFC-8F99-4165-8667-2BB64F857EEF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011AFC-8F99-4165-8667-2BB64F857EEF}" type="slidenum">
              <a:rPr lang="zh-CN" altLang="en-US" smtClean="0"/>
              <a:pPr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308629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011AFC-8F99-4165-8667-2BB64F857EEF}" type="slidenum">
              <a:rPr lang="zh-CN" altLang="en-US" smtClean="0"/>
              <a:pPr/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4847324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011AFC-8F99-4165-8667-2BB64F857EEF}" type="slidenum">
              <a:rPr lang="zh-CN" altLang="en-US" smtClean="0"/>
              <a:pPr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4302543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011AFC-8F99-4165-8667-2BB64F857EEF}" type="slidenum">
              <a:rPr lang="zh-CN" altLang="en-US" smtClean="0"/>
              <a:pPr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0864800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011AFC-8F99-4165-8667-2BB64F857EEF}" type="slidenum">
              <a:rPr lang="zh-CN" altLang="en-US" smtClean="0"/>
              <a:pPr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7615749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011AFC-8F99-4165-8667-2BB64F857EEF}" type="slidenum">
              <a:rPr lang="zh-CN" altLang="en-US" smtClean="0"/>
              <a:pPr/>
              <a:t>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0155540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011AFC-8F99-4165-8667-2BB64F857EEF}" type="slidenum">
              <a:rPr lang="zh-CN" altLang="en-US" smtClean="0"/>
              <a:pPr/>
              <a:t>1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9165669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011AFC-8F99-4165-8667-2BB64F857EEF}" type="slidenum">
              <a:rPr lang="zh-CN" altLang="en-US" smtClean="0"/>
              <a:pPr/>
              <a:t>1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944767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FAA38C7-4050-4963-9314-0215AEC54868}" type="slidenum">
              <a:rPr lang="zh-CN" altLang="en-US" smtClean="0"/>
              <a:pPr>
                <a:defRPr/>
              </a:pPr>
              <a:t>12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8718837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0D331CE-D6CD-1B4B-AF39-FD6DF094767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F736F664-19BB-8F4F-8AB7-ADFCE1178CB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kumimoji="1" lang="zh-CN" altLang="en-US"/>
              <a:t>单击此处编辑母版副标题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46BFCEA1-322A-FB45-9CDF-AACFA4A437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41BD70-6317-4443-8CED-A4FFD34BF2F4}" type="datetimeFigureOut">
              <a:rPr kumimoji="1" lang="zh-CN" altLang="en-US" smtClean="0"/>
              <a:pPr/>
              <a:t>2019-7-23</a:t>
            </a:fld>
            <a:endParaRPr kumimoji="1"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B7B3E882-32DA-DD43-B072-451C097F75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4E8AB7BE-29EC-CD47-AD9C-35FFDD2C6A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33A349-5FAC-4644-8713-6BA9A41DBAF3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96134528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96FD77B-EA53-CF46-B004-167C448B83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633FD7E8-D1BE-E645-9310-5A7EE1E0B1D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D9044CF6-B184-7E40-A807-71A35ACA20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41BD70-6317-4443-8CED-A4FFD34BF2F4}" type="datetimeFigureOut">
              <a:rPr kumimoji="1" lang="zh-CN" altLang="en-US" smtClean="0"/>
              <a:pPr/>
              <a:t>2019-7-23</a:t>
            </a:fld>
            <a:endParaRPr kumimoji="1"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A7399A1A-F059-384C-8C65-80F76BF242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344FA973-B1DE-EF4D-B6CB-C9BBB5B68B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33A349-5FAC-4644-8713-6BA9A41DBAF3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48825427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>
            <a:extLst>
              <a:ext uri="{FF2B5EF4-FFF2-40B4-BE49-F238E27FC236}">
                <a16:creationId xmlns:a16="http://schemas.microsoft.com/office/drawing/2014/main" id="{3054707E-1CF4-4B46-BE75-B1638FA5911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C5274A5A-D3A7-ED40-A10B-0939F983ED3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3EB44D12-61EF-924F-881E-F50E2CF283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41BD70-6317-4443-8CED-A4FFD34BF2F4}" type="datetimeFigureOut">
              <a:rPr kumimoji="1" lang="zh-CN" altLang="en-US" smtClean="0"/>
              <a:pPr/>
              <a:t>2019-7-23</a:t>
            </a:fld>
            <a:endParaRPr kumimoji="1"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8EB86055-2C85-BA45-9FE2-D5E6DB2AA5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3AECC6D6-0FCC-8C4F-8718-E94C5BB6DF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33A349-5FAC-4644-8713-6BA9A41DBAF3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5664458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E3ACF0-1EB1-42ED-AB16-7466DFC94CF2}" type="datetimeFigureOut">
              <a:rPr lang="zh-CN" altLang="en-US" smtClean="0"/>
              <a:pPr/>
              <a:t>2019-7-23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9CD9BD-D6DC-4782-AF39-8C28261CEB68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6532866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E3ACF0-1EB1-42ED-AB16-7466DFC94CF2}" type="datetimeFigureOut">
              <a:rPr lang="zh-CN" altLang="en-US" smtClean="0"/>
              <a:pPr/>
              <a:t>2019-7-23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9CD9BD-D6DC-4782-AF39-8C28261CEB68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9317894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E3ACF0-1EB1-42ED-AB16-7466DFC94CF2}" type="datetimeFigureOut">
              <a:rPr lang="zh-CN" altLang="en-US" smtClean="0"/>
              <a:pPr/>
              <a:t>2019-7-23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9CD9BD-D6DC-4782-AF39-8C28261CEB68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9195653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E3ACF0-1EB1-42ED-AB16-7466DFC94CF2}" type="datetimeFigureOut">
              <a:rPr lang="zh-CN" altLang="en-US" smtClean="0"/>
              <a:pPr/>
              <a:t>2019-7-23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9CD9BD-D6DC-4782-AF39-8C28261CEB68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7489489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E3ACF0-1EB1-42ED-AB16-7466DFC94CF2}" type="datetimeFigureOut">
              <a:rPr lang="zh-CN" altLang="en-US" smtClean="0"/>
              <a:pPr/>
              <a:t>2019-7-23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9CD9BD-D6DC-4782-AF39-8C28261CEB68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3113870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E3ACF0-1EB1-42ED-AB16-7466DFC94CF2}" type="datetimeFigureOut">
              <a:rPr lang="zh-CN" altLang="en-US" smtClean="0"/>
              <a:pPr/>
              <a:t>2019-7-23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9CD9BD-D6DC-4782-AF39-8C28261CEB68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9469968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E3ACF0-1EB1-42ED-AB16-7466DFC94CF2}" type="datetimeFigureOut">
              <a:rPr lang="zh-CN" altLang="en-US" smtClean="0"/>
              <a:pPr/>
              <a:t>2019-7-23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9CD9BD-D6DC-4782-AF39-8C28261CEB68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7692664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418955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C55DF8D-2D0E-3240-A962-297A661A73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2BFDAB61-3ABC-7348-9F56-9A5611A6176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B694B193-69D1-DA40-8B2D-6EFAF9F4D6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41BD70-6317-4443-8CED-A4FFD34BF2F4}" type="datetimeFigureOut">
              <a:rPr kumimoji="1" lang="zh-CN" altLang="en-US" smtClean="0"/>
              <a:pPr/>
              <a:t>2019-7-23</a:t>
            </a:fld>
            <a:endParaRPr kumimoji="1"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2A35B6C5-C763-9840-B904-C64FEA54B7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61C3CB8B-4C48-0246-A15A-D13AE08871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33A349-5FAC-4644-8713-6BA9A41DBAF3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5857044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6096528" cy="68585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06310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E3ACF0-1EB1-42ED-AB16-7466DFC94CF2}" type="datetimeFigureOut">
              <a:rPr lang="zh-CN" altLang="en-US" smtClean="0"/>
              <a:pPr/>
              <a:t>2019-7-23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9CD9BD-D6DC-4782-AF39-8C28261CEB68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6142505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E3ACF0-1EB1-42ED-AB16-7466DFC94CF2}" type="datetimeFigureOut">
              <a:rPr lang="zh-CN" altLang="en-US" smtClean="0"/>
              <a:pPr/>
              <a:t>2019-7-23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9CD9BD-D6DC-4782-AF39-8C28261CEB68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0729889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E3ACF0-1EB1-42ED-AB16-7466DFC94CF2}" type="datetimeFigureOut">
              <a:rPr lang="zh-CN" altLang="en-US" smtClean="0"/>
              <a:pPr/>
              <a:t>2019-7-23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9CD9BD-D6DC-4782-AF39-8C28261CEB68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7169097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E3ACF0-1EB1-42ED-AB16-7466DFC94CF2}" type="datetimeFigureOut">
              <a:rPr lang="zh-CN" altLang="en-US" smtClean="0"/>
              <a:pPr/>
              <a:t>2019-7-23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9CD9BD-D6DC-4782-AF39-8C28261CEB68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6884356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s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2923891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4613562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3" y="1622"/>
          <a:ext cx="2158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18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3" y="1622"/>
                        <a:ext cx="2158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216633" y="152528"/>
            <a:ext cx="11725484" cy="298327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8766691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B3803A6-C5B2-A14A-8F11-7171490F10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5D78CB5A-2EA9-604B-993D-A97FA1D8C4F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kumimoji="1" lang="zh-CN" altLang="en-US"/>
              <a:t>单击此处编辑母版文本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D07C0186-5091-C44E-AFFA-EAD692D5CD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41BD70-6317-4443-8CED-A4FFD34BF2F4}" type="datetimeFigureOut">
              <a:rPr kumimoji="1" lang="zh-CN" altLang="en-US" smtClean="0"/>
              <a:pPr/>
              <a:t>2019-7-23</a:t>
            </a:fld>
            <a:endParaRPr kumimoji="1"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FAB49DCA-8D4A-D049-A39A-363E8FA8A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2F8CC446-E099-324E-8108-A3366AD350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33A349-5FAC-4644-8713-6BA9A41DBAF3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572831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0909C780-2788-4F45-8AFB-75BC708493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193AB1F6-AFCA-6641-99B6-63F692258EE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8E4E15ED-9AB6-7248-81D2-6F4A258E52C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05143D4D-9DCB-F548-87AD-E0AAA1162E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41BD70-6317-4443-8CED-A4FFD34BF2F4}" type="datetimeFigureOut">
              <a:rPr kumimoji="1" lang="zh-CN" altLang="en-US" smtClean="0"/>
              <a:pPr/>
              <a:t>2019-7-23</a:t>
            </a:fld>
            <a:endParaRPr kumimoji="1"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04AF344E-0751-EA40-AD2A-1F6736EAA4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07EE1BCE-95C4-4448-97E0-EC2F530A54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33A349-5FAC-4644-8713-6BA9A41DBAF3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4581897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06F290D-7DFA-CC4B-B04A-AC5E2440E0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078D2D97-2EAD-5B4E-9361-D54A8FCD947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zh-CN" altLang="en-US"/>
              <a:t>单击此处编辑母版文本样式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D90414E7-8804-3844-A8A2-D12125CEF97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C7412962-5B70-834F-A806-20A83AEC4C4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zh-CN" altLang="en-US"/>
              <a:t>单击此处编辑母版文本样式</a:t>
            </a:r>
          </a:p>
        </p:txBody>
      </p:sp>
      <p:sp>
        <p:nvSpPr>
          <p:cNvPr id="6" name="内容占位符 5">
            <a:extLst>
              <a:ext uri="{FF2B5EF4-FFF2-40B4-BE49-F238E27FC236}">
                <a16:creationId xmlns:a16="http://schemas.microsoft.com/office/drawing/2014/main" id="{7E3AC2C1-75B4-2448-A408-819A7625979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7" name="日期占位符 6">
            <a:extLst>
              <a:ext uri="{FF2B5EF4-FFF2-40B4-BE49-F238E27FC236}">
                <a16:creationId xmlns:a16="http://schemas.microsoft.com/office/drawing/2014/main" id="{664A50EE-A330-C343-8042-525F949FD9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41BD70-6317-4443-8CED-A4FFD34BF2F4}" type="datetimeFigureOut">
              <a:rPr kumimoji="1" lang="zh-CN" altLang="en-US" smtClean="0"/>
              <a:pPr/>
              <a:t>2019-7-23</a:t>
            </a:fld>
            <a:endParaRPr kumimoji="1" lang="zh-CN" altLang="en-US"/>
          </a:p>
        </p:txBody>
      </p:sp>
      <p:sp>
        <p:nvSpPr>
          <p:cNvPr id="8" name="页脚占位符 7">
            <a:extLst>
              <a:ext uri="{FF2B5EF4-FFF2-40B4-BE49-F238E27FC236}">
                <a16:creationId xmlns:a16="http://schemas.microsoft.com/office/drawing/2014/main" id="{DA136641-5AAC-194C-B57A-60C8669415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9" name="灯片编号占位符 8">
            <a:extLst>
              <a:ext uri="{FF2B5EF4-FFF2-40B4-BE49-F238E27FC236}">
                <a16:creationId xmlns:a16="http://schemas.microsoft.com/office/drawing/2014/main" id="{3CED9064-F36B-8D40-B598-82356F7131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33A349-5FAC-4644-8713-6BA9A41DBAF3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9068415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8517375-8DB1-1A47-B31A-AC3974E0F6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3317254-4833-E647-ACAE-1B47BE87BD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41BD70-6317-4443-8CED-A4FFD34BF2F4}" type="datetimeFigureOut">
              <a:rPr kumimoji="1" lang="zh-CN" altLang="en-US" smtClean="0"/>
              <a:pPr/>
              <a:t>2019-7-23</a:t>
            </a:fld>
            <a:endParaRPr kumimoji="1"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2BAFA780-91AF-CE46-8AAA-D2234A810C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65F76308-0EA5-0D46-B2E7-7EA9D20609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33A349-5FAC-4644-8713-6BA9A41DBAF3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3060361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>
            <a:extLst>
              <a:ext uri="{FF2B5EF4-FFF2-40B4-BE49-F238E27FC236}">
                <a16:creationId xmlns:a16="http://schemas.microsoft.com/office/drawing/2014/main" id="{5DF83C33-EDDA-FB46-A97C-6900A19BE5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41BD70-6317-4443-8CED-A4FFD34BF2F4}" type="datetimeFigureOut">
              <a:rPr kumimoji="1" lang="zh-CN" altLang="en-US" smtClean="0"/>
              <a:pPr/>
              <a:t>2019-7-23</a:t>
            </a:fld>
            <a:endParaRPr kumimoji="1" lang="zh-CN" altLang="en-US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2684B6BA-5B54-F042-8339-A482D49138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D2FA2397-8B64-D247-8801-26979AD3AC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33A349-5FAC-4644-8713-6BA9A41DBAF3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9388406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4A202D9-2A38-8E47-A8A4-2238BCC367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35352884-5189-AB4C-B142-EB576DE0298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B3CAFC9F-F687-7C43-89A6-1F0008065EC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78D92E4F-2BD1-C346-A5F8-156259EEE0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41BD70-6317-4443-8CED-A4FFD34BF2F4}" type="datetimeFigureOut">
              <a:rPr kumimoji="1" lang="zh-CN" altLang="en-US" smtClean="0"/>
              <a:pPr/>
              <a:t>2019-7-23</a:t>
            </a:fld>
            <a:endParaRPr kumimoji="1"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E23F1819-43BD-1E49-B8F7-2EB17EA88D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C4797DFB-FB3C-B44A-8F80-33844226DC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33A349-5FAC-4644-8713-6BA9A41DBAF3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1232606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D4BE0A1-9C0D-2B40-AFD1-92600A3DE1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图片占位符 2">
            <a:extLst>
              <a:ext uri="{FF2B5EF4-FFF2-40B4-BE49-F238E27FC236}">
                <a16:creationId xmlns:a16="http://schemas.microsoft.com/office/drawing/2014/main" id="{2D046642-BAE4-1746-84F9-664BEC9010C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kumimoji="1" lang="zh-CN" altLang="en-US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974A092F-06E1-AD49-9DB6-BD2C95FFD9E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23580380-BF05-7649-B979-F82DEDC61A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41BD70-6317-4443-8CED-A4FFD34BF2F4}" type="datetimeFigureOut">
              <a:rPr kumimoji="1" lang="zh-CN" altLang="en-US" smtClean="0"/>
              <a:pPr/>
              <a:t>2019-7-23</a:t>
            </a:fld>
            <a:endParaRPr kumimoji="1"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D7B46513-CDCC-3446-AFF9-CF8D5DDDF9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4C210A8B-F235-E74C-A5EE-CE3FFB9804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33A349-5FAC-4644-8713-6BA9A41DBAF3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83317292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>
            <a:extLst>
              <a:ext uri="{FF2B5EF4-FFF2-40B4-BE49-F238E27FC236}">
                <a16:creationId xmlns:a16="http://schemas.microsoft.com/office/drawing/2014/main" id="{84298C6F-9D59-DE4F-94D2-D89FB8270E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EDE609BC-EE4C-1A44-AF22-DEFD0EB1FE8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145C6412-0ECD-C144-9D66-BDE884F140F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E41BD70-6317-4443-8CED-A4FFD34BF2F4}" type="datetimeFigureOut">
              <a:rPr kumimoji="1" lang="zh-CN" altLang="en-US" smtClean="0"/>
              <a:pPr/>
              <a:t>2019-7-23</a:t>
            </a:fld>
            <a:endParaRPr kumimoji="1"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C4DFB6FF-02E7-EF48-A320-4D96346C9B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3FC42F33-3EEE-2C44-B856-CA253EAAF04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533A349-5FAC-4644-8713-6BA9A41DBAF3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5060209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E3ACF0-1EB1-42ED-AB16-7466DFC94CF2}" type="datetimeFigureOut">
              <a:rPr lang="zh-CN" altLang="en-US" smtClean="0"/>
              <a:pPr/>
              <a:t>2019-7-23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09CD9BD-D6DC-4782-AF39-8C28261CEB68}" type="slidenum">
              <a:rPr lang="zh-CN" altLang="en-US" smtClean="0"/>
              <a:pPr/>
              <a:t>‹#›</a:t>
            </a:fld>
            <a:endParaRPr lang="zh-CN" altLang="en-US"/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B8D5B51E-8030-2143-B5FE-1CB7BC0C82DD}"/>
              </a:ext>
            </a:extLst>
          </p:cNvPr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2451"/>
            <a:ext cx="12152086" cy="6835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257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7" Type="http://schemas.openxmlformats.org/officeDocument/2006/relationships/image" Target="../media/image10.wm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9.wmf"/><Relationship Id="rId5" Type="http://schemas.openxmlformats.org/officeDocument/2006/relationships/image" Target="../media/image8.wmf"/><Relationship Id="rId4" Type="http://schemas.openxmlformats.org/officeDocument/2006/relationships/image" Target="../media/image7.wmf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/>
          <p:cNvGrpSpPr/>
          <p:nvPr/>
        </p:nvGrpSpPr>
        <p:grpSpPr>
          <a:xfrm>
            <a:off x="8598305" y="737425"/>
            <a:ext cx="419932" cy="437802"/>
            <a:chOff x="8181567" y="391614"/>
            <a:chExt cx="420096" cy="437973"/>
          </a:xfrm>
          <a:solidFill>
            <a:schemeClr val="accent1"/>
          </a:solidFill>
        </p:grpSpPr>
        <p:sp>
          <p:nvSpPr>
            <p:cNvPr id="6" name="Oval 11"/>
            <p:cNvSpPr>
              <a:spLocks noChangeArrowheads="1"/>
            </p:cNvSpPr>
            <p:nvPr/>
          </p:nvSpPr>
          <p:spPr bwMode="auto">
            <a:xfrm>
              <a:off x="8181567" y="391614"/>
              <a:ext cx="420096" cy="437973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txBody>
            <a:bodyPr vert="horz" wrap="square" lIns="91404" tIns="45702" rIns="91404" bIns="45702" numCol="1" anchor="t" anchorCtr="0" compatLnSpc="1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None/>
                <a:defRPr/>
              </a:pPr>
              <a:endParaRPr lang="zh-CN" altLang="en-US" sz="1799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" name="Freeform 14"/>
            <p:cNvSpPr>
              <a:spLocks noEditPoints="1"/>
            </p:cNvSpPr>
            <p:nvPr/>
          </p:nvSpPr>
          <p:spPr bwMode="auto">
            <a:xfrm>
              <a:off x="8254350" y="468227"/>
              <a:ext cx="321776" cy="268147"/>
            </a:xfrm>
            <a:custGeom>
              <a:avLst/>
              <a:gdLst>
                <a:gd name="T0" fmla="*/ 337 w 437"/>
                <a:gd name="T1" fmla="*/ 334 h 349"/>
                <a:gd name="T2" fmla="*/ 0 w 437"/>
                <a:gd name="T3" fmla="*/ 334 h 349"/>
                <a:gd name="T4" fmla="*/ 175 w 437"/>
                <a:gd name="T5" fmla="*/ 129 h 349"/>
                <a:gd name="T6" fmla="*/ 168 w 437"/>
                <a:gd name="T7" fmla="*/ 123 h 349"/>
                <a:gd name="T8" fmla="*/ 319 w 437"/>
                <a:gd name="T9" fmla="*/ 144 h 349"/>
                <a:gd name="T10" fmla="*/ 18 w 437"/>
                <a:gd name="T11" fmla="*/ 118 h 349"/>
                <a:gd name="T12" fmla="*/ 120 w 437"/>
                <a:gd name="T13" fmla="*/ 253 h 349"/>
                <a:gd name="T14" fmla="*/ 57 w 437"/>
                <a:gd name="T15" fmla="*/ 213 h 349"/>
                <a:gd name="T16" fmla="*/ 57 w 437"/>
                <a:gd name="T17" fmla="*/ 226 h 349"/>
                <a:gd name="T18" fmla="*/ 182 w 437"/>
                <a:gd name="T19" fmla="*/ 186 h 349"/>
                <a:gd name="T20" fmla="*/ 57 w 437"/>
                <a:gd name="T21" fmla="*/ 186 h 349"/>
                <a:gd name="T22" fmla="*/ 182 w 437"/>
                <a:gd name="T23" fmla="*/ 174 h 349"/>
                <a:gd name="T24" fmla="*/ 323 w 437"/>
                <a:gd name="T25" fmla="*/ 146 h 349"/>
                <a:gd name="T26" fmla="*/ 323 w 437"/>
                <a:gd name="T27" fmla="*/ 146 h 349"/>
                <a:gd name="T28" fmla="*/ 324 w 437"/>
                <a:gd name="T29" fmla="*/ 22 h 349"/>
                <a:gd name="T30" fmla="*/ 198 w 437"/>
                <a:gd name="T31" fmla="*/ 79 h 349"/>
                <a:gd name="T32" fmla="*/ 342 w 437"/>
                <a:gd name="T33" fmla="*/ 87 h 349"/>
                <a:gd name="T34" fmla="*/ 219 w 437"/>
                <a:gd name="T35" fmla="*/ 60 h 349"/>
                <a:gd name="T36" fmla="*/ 346 w 437"/>
                <a:gd name="T37" fmla="*/ 152 h 349"/>
                <a:gd name="T38" fmla="*/ 396 w 437"/>
                <a:gd name="T39" fmla="*/ 91 h 349"/>
                <a:gd name="T40" fmla="*/ 409 w 437"/>
                <a:gd name="T41" fmla="*/ 105 h 349"/>
                <a:gd name="T42" fmla="*/ 402 w 437"/>
                <a:gd name="T43" fmla="*/ 89 h 349"/>
                <a:gd name="T44" fmla="*/ 399 w 437"/>
                <a:gd name="T45" fmla="*/ 171 h 349"/>
                <a:gd name="T46" fmla="*/ 398 w 437"/>
                <a:gd name="T47" fmla="*/ 187 h 349"/>
                <a:gd name="T48" fmla="*/ 412 w 437"/>
                <a:gd name="T49" fmla="*/ 187 h 349"/>
                <a:gd name="T50" fmla="*/ 411 w 437"/>
                <a:gd name="T51" fmla="*/ 171 h 349"/>
                <a:gd name="T52" fmla="*/ 409 w 437"/>
                <a:gd name="T53" fmla="*/ 134 h 349"/>
                <a:gd name="T54" fmla="*/ 201 w 437"/>
                <a:gd name="T55" fmla="*/ 188 h 349"/>
                <a:gd name="T56" fmla="*/ 220 w 437"/>
                <a:gd name="T57" fmla="*/ 262 h 349"/>
                <a:gd name="T58" fmla="*/ 228 w 437"/>
                <a:gd name="T59" fmla="*/ 256 h 349"/>
                <a:gd name="T60" fmla="*/ 231 w 437"/>
                <a:gd name="T61" fmla="*/ 247 h 349"/>
                <a:gd name="T62" fmla="*/ 240 w 437"/>
                <a:gd name="T63" fmla="*/ 253 h 349"/>
                <a:gd name="T64" fmla="*/ 246 w 437"/>
                <a:gd name="T65" fmla="*/ 267 h 349"/>
                <a:gd name="T66" fmla="*/ 254 w 437"/>
                <a:gd name="T67" fmla="*/ 273 h 349"/>
                <a:gd name="T68" fmla="*/ 267 w 437"/>
                <a:gd name="T69" fmla="*/ 271 h 349"/>
                <a:gd name="T70" fmla="*/ 265 w 437"/>
                <a:gd name="T71" fmla="*/ 264 h 349"/>
                <a:gd name="T72" fmla="*/ 258 w 437"/>
                <a:gd name="T73" fmla="*/ 250 h 349"/>
                <a:gd name="T74" fmla="*/ 249 w 437"/>
                <a:gd name="T75" fmla="*/ 244 h 349"/>
                <a:gd name="T76" fmla="*/ 271 w 437"/>
                <a:gd name="T77" fmla="*/ 232 h 349"/>
                <a:gd name="T78" fmla="*/ 262 w 437"/>
                <a:gd name="T79" fmla="*/ 229 h 349"/>
                <a:gd name="T80" fmla="*/ 256 w 437"/>
                <a:gd name="T81" fmla="*/ 221 h 349"/>
                <a:gd name="T82" fmla="*/ 247 w 437"/>
                <a:gd name="T83" fmla="*/ 219 h 349"/>
                <a:gd name="T84" fmla="*/ 241 w 437"/>
                <a:gd name="T85" fmla="*/ 211 h 349"/>
                <a:gd name="T86" fmla="*/ 232 w 437"/>
                <a:gd name="T87" fmla="*/ 208 h 349"/>
                <a:gd name="T88" fmla="*/ 226 w 437"/>
                <a:gd name="T89" fmla="*/ 201 h 349"/>
                <a:gd name="T90" fmla="*/ 216 w 437"/>
                <a:gd name="T91" fmla="*/ 198 h 349"/>
                <a:gd name="T92" fmla="*/ 210 w 437"/>
                <a:gd name="T93" fmla="*/ 190 h 349"/>
                <a:gd name="T94" fmla="*/ 40 w 437"/>
                <a:gd name="T95" fmla="*/ 141 h 349"/>
                <a:gd name="T96" fmla="*/ 40 w 437"/>
                <a:gd name="T97" fmla="*/ 292 h 3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37" h="349">
                  <a:moveTo>
                    <a:pt x="0" y="322"/>
                  </a:moveTo>
                  <a:lnTo>
                    <a:pt x="337" y="322"/>
                  </a:lnTo>
                  <a:lnTo>
                    <a:pt x="337" y="334"/>
                  </a:lnTo>
                  <a:cubicBezTo>
                    <a:pt x="337" y="342"/>
                    <a:pt x="331" y="349"/>
                    <a:pt x="323" y="349"/>
                  </a:cubicBezTo>
                  <a:lnTo>
                    <a:pt x="14" y="349"/>
                  </a:lnTo>
                  <a:cubicBezTo>
                    <a:pt x="6" y="349"/>
                    <a:pt x="0" y="342"/>
                    <a:pt x="0" y="334"/>
                  </a:cubicBezTo>
                  <a:lnTo>
                    <a:pt x="0" y="322"/>
                  </a:lnTo>
                  <a:close/>
                  <a:moveTo>
                    <a:pt x="168" y="123"/>
                  </a:moveTo>
                  <a:cubicBezTo>
                    <a:pt x="172" y="123"/>
                    <a:pt x="175" y="126"/>
                    <a:pt x="175" y="129"/>
                  </a:cubicBezTo>
                  <a:cubicBezTo>
                    <a:pt x="175" y="133"/>
                    <a:pt x="172" y="135"/>
                    <a:pt x="168" y="135"/>
                  </a:cubicBezTo>
                  <a:cubicBezTo>
                    <a:pt x="165" y="135"/>
                    <a:pt x="162" y="133"/>
                    <a:pt x="162" y="129"/>
                  </a:cubicBezTo>
                  <a:cubicBezTo>
                    <a:pt x="162" y="126"/>
                    <a:pt x="165" y="123"/>
                    <a:pt x="168" y="123"/>
                  </a:cubicBezTo>
                  <a:close/>
                  <a:moveTo>
                    <a:pt x="18" y="118"/>
                  </a:moveTo>
                  <a:lnTo>
                    <a:pt x="208" y="118"/>
                  </a:lnTo>
                  <a:cubicBezTo>
                    <a:pt x="246" y="120"/>
                    <a:pt x="283" y="128"/>
                    <a:pt x="319" y="144"/>
                  </a:cubicBezTo>
                  <a:lnTo>
                    <a:pt x="319" y="315"/>
                  </a:lnTo>
                  <a:lnTo>
                    <a:pt x="18" y="315"/>
                  </a:lnTo>
                  <a:lnTo>
                    <a:pt x="18" y="118"/>
                  </a:lnTo>
                  <a:close/>
                  <a:moveTo>
                    <a:pt x="57" y="239"/>
                  </a:moveTo>
                  <a:lnTo>
                    <a:pt x="120" y="239"/>
                  </a:lnTo>
                  <a:lnTo>
                    <a:pt x="120" y="253"/>
                  </a:lnTo>
                  <a:lnTo>
                    <a:pt x="57" y="253"/>
                  </a:lnTo>
                  <a:lnTo>
                    <a:pt x="57" y="239"/>
                  </a:lnTo>
                  <a:close/>
                  <a:moveTo>
                    <a:pt x="57" y="213"/>
                  </a:moveTo>
                  <a:lnTo>
                    <a:pt x="182" y="213"/>
                  </a:lnTo>
                  <a:lnTo>
                    <a:pt x="182" y="226"/>
                  </a:lnTo>
                  <a:lnTo>
                    <a:pt x="57" y="226"/>
                  </a:lnTo>
                  <a:lnTo>
                    <a:pt x="57" y="213"/>
                  </a:lnTo>
                  <a:close/>
                  <a:moveTo>
                    <a:pt x="57" y="186"/>
                  </a:moveTo>
                  <a:lnTo>
                    <a:pt x="182" y="186"/>
                  </a:lnTo>
                  <a:lnTo>
                    <a:pt x="182" y="200"/>
                  </a:lnTo>
                  <a:lnTo>
                    <a:pt x="57" y="200"/>
                  </a:lnTo>
                  <a:lnTo>
                    <a:pt x="57" y="186"/>
                  </a:lnTo>
                  <a:close/>
                  <a:moveTo>
                    <a:pt x="57" y="160"/>
                  </a:moveTo>
                  <a:lnTo>
                    <a:pt x="182" y="160"/>
                  </a:lnTo>
                  <a:lnTo>
                    <a:pt x="182" y="174"/>
                  </a:lnTo>
                  <a:lnTo>
                    <a:pt x="57" y="174"/>
                  </a:lnTo>
                  <a:lnTo>
                    <a:pt x="57" y="160"/>
                  </a:lnTo>
                  <a:close/>
                  <a:moveTo>
                    <a:pt x="323" y="146"/>
                  </a:moveTo>
                  <a:cubicBezTo>
                    <a:pt x="328" y="148"/>
                    <a:pt x="339" y="154"/>
                    <a:pt x="342" y="156"/>
                  </a:cubicBezTo>
                  <a:cubicBezTo>
                    <a:pt x="350" y="161"/>
                    <a:pt x="330" y="164"/>
                    <a:pt x="323" y="165"/>
                  </a:cubicBezTo>
                  <a:lnTo>
                    <a:pt x="323" y="146"/>
                  </a:lnTo>
                  <a:close/>
                  <a:moveTo>
                    <a:pt x="396" y="91"/>
                  </a:moveTo>
                  <a:cubicBezTo>
                    <a:pt x="377" y="71"/>
                    <a:pt x="359" y="50"/>
                    <a:pt x="341" y="30"/>
                  </a:cubicBezTo>
                  <a:cubicBezTo>
                    <a:pt x="335" y="23"/>
                    <a:pt x="332" y="23"/>
                    <a:pt x="324" y="22"/>
                  </a:cubicBezTo>
                  <a:lnTo>
                    <a:pt x="133" y="1"/>
                  </a:lnTo>
                  <a:cubicBezTo>
                    <a:pt x="129" y="0"/>
                    <a:pt x="128" y="3"/>
                    <a:pt x="130" y="6"/>
                  </a:cubicBezTo>
                  <a:lnTo>
                    <a:pt x="198" y="79"/>
                  </a:lnTo>
                  <a:cubicBezTo>
                    <a:pt x="209" y="57"/>
                    <a:pt x="217" y="46"/>
                    <a:pt x="251" y="50"/>
                  </a:cubicBezTo>
                  <a:cubicBezTo>
                    <a:pt x="275" y="53"/>
                    <a:pt x="292" y="58"/>
                    <a:pt x="314" y="66"/>
                  </a:cubicBezTo>
                  <a:cubicBezTo>
                    <a:pt x="328" y="72"/>
                    <a:pt x="335" y="76"/>
                    <a:pt x="342" y="87"/>
                  </a:cubicBezTo>
                  <a:cubicBezTo>
                    <a:pt x="336" y="80"/>
                    <a:pt x="327" y="75"/>
                    <a:pt x="317" y="71"/>
                  </a:cubicBezTo>
                  <a:cubicBezTo>
                    <a:pt x="297" y="63"/>
                    <a:pt x="275" y="58"/>
                    <a:pt x="253" y="55"/>
                  </a:cubicBezTo>
                  <a:cubicBezTo>
                    <a:pt x="240" y="54"/>
                    <a:pt x="227" y="54"/>
                    <a:pt x="219" y="60"/>
                  </a:cubicBezTo>
                  <a:cubicBezTo>
                    <a:pt x="211" y="66"/>
                    <a:pt x="199" y="93"/>
                    <a:pt x="194" y="103"/>
                  </a:cubicBezTo>
                  <a:cubicBezTo>
                    <a:pt x="191" y="110"/>
                    <a:pt x="195" y="112"/>
                    <a:pt x="200" y="112"/>
                  </a:cubicBezTo>
                  <a:cubicBezTo>
                    <a:pt x="251" y="115"/>
                    <a:pt x="301" y="128"/>
                    <a:pt x="346" y="152"/>
                  </a:cubicBezTo>
                  <a:lnTo>
                    <a:pt x="347" y="126"/>
                  </a:lnTo>
                  <a:cubicBezTo>
                    <a:pt x="363" y="128"/>
                    <a:pt x="379" y="130"/>
                    <a:pt x="396" y="133"/>
                  </a:cubicBezTo>
                  <a:lnTo>
                    <a:pt x="396" y="91"/>
                  </a:lnTo>
                  <a:close/>
                  <a:moveTo>
                    <a:pt x="433" y="138"/>
                  </a:moveTo>
                  <a:cubicBezTo>
                    <a:pt x="435" y="138"/>
                    <a:pt x="437" y="135"/>
                    <a:pt x="435" y="133"/>
                  </a:cubicBezTo>
                  <a:cubicBezTo>
                    <a:pt x="426" y="124"/>
                    <a:pt x="417" y="114"/>
                    <a:pt x="409" y="105"/>
                  </a:cubicBezTo>
                  <a:lnTo>
                    <a:pt x="409" y="93"/>
                  </a:lnTo>
                  <a:cubicBezTo>
                    <a:pt x="409" y="91"/>
                    <a:pt x="407" y="90"/>
                    <a:pt x="405" y="90"/>
                  </a:cubicBezTo>
                  <a:lnTo>
                    <a:pt x="402" y="89"/>
                  </a:lnTo>
                  <a:lnTo>
                    <a:pt x="402" y="163"/>
                  </a:lnTo>
                  <a:cubicBezTo>
                    <a:pt x="400" y="163"/>
                    <a:pt x="400" y="164"/>
                    <a:pt x="400" y="165"/>
                  </a:cubicBezTo>
                  <a:lnTo>
                    <a:pt x="399" y="171"/>
                  </a:lnTo>
                  <a:cubicBezTo>
                    <a:pt x="399" y="173"/>
                    <a:pt x="400" y="174"/>
                    <a:pt x="400" y="176"/>
                  </a:cubicBezTo>
                  <a:lnTo>
                    <a:pt x="400" y="182"/>
                  </a:lnTo>
                  <a:cubicBezTo>
                    <a:pt x="400" y="184"/>
                    <a:pt x="399" y="185"/>
                    <a:pt x="398" y="187"/>
                  </a:cubicBezTo>
                  <a:lnTo>
                    <a:pt x="393" y="231"/>
                  </a:lnTo>
                  <a:cubicBezTo>
                    <a:pt x="396" y="236"/>
                    <a:pt x="414" y="236"/>
                    <a:pt x="417" y="231"/>
                  </a:cubicBezTo>
                  <a:lnTo>
                    <a:pt x="412" y="187"/>
                  </a:lnTo>
                  <a:cubicBezTo>
                    <a:pt x="412" y="185"/>
                    <a:pt x="411" y="184"/>
                    <a:pt x="411" y="182"/>
                  </a:cubicBezTo>
                  <a:lnTo>
                    <a:pt x="410" y="176"/>
                  </a:lnTo>
                  <a:cubicBezTo>
                    <a:pt x="410" y="174"/>
                    <a:pt x="412" y="174"/>
                    <a:pt x="411" y="171"/>
                  </a:cubicBezTo>
                  <a:lnTo>
                    <a:pt x="411" y="165"/>
                  </a:lnTo>
                  <a:cubicBezTo>
                    <a:pt x="411" y="164"/>
                    <a:pt x="410" y="163"/>
                    <a:pt x="409" y="163"/>
                  </a:cubicBezTo>
                  <a:lnTo>
                    <a:pt x="409" y="134"/>
                  </a:lnTo>
                  <a:cubicBezTo>
                    <a:pt x="417" y="135"/>
                    <a:pt x="425" y="137"/>
                    <a:pt x="433" y="138"/>
                  </a:cubicBezTo>
                  <a:close/>
                  <a:moveTo>
                    <a:pt x="206" y="187"/>
                  </a:moveTo>
                  <a:lnTo>
                    <a:pt x="201" y="188"/>
                  </a:lnTo>
                  <a:lnTo>
                    <a:pt x="217" y="267"/>
                  </a:lnTo>
                  <a:lnTo>
                    <a:pt x="221" y="266"/>
                  </a:lnTo>
                  <a:lnTo>
                    <a:pt x="220" y="262"/>
                  </a:lnTo>
                  <a:lnTo>
                    <a:pt x="224" y="261"/>
                  </a:lnTo>
                  <a:lnTo>
                    <a:pt x="224" y="257"/>
                  </a:lnTo>
                  <a:lnTo>
                    <a:pt x="228" y="256"/>
                  </a:lnTo>
                  <a:lnTo>
                    <a:pt x="227" y="252"/>
                  </a:lnTo>
                  <a:lnTo>
                    <a:pt x="231" y="251"/>
                  </a:lnTo>
                  <a:lnTo>
                    <a:pt x="231" y="247"/>
                  </a:lnTo>
                  <a:lnTo>
                    <a:pt x="235" y="246"/>
                  </a:lnTo>
                  <a:lnTo>
                    <a:pt x="236" y="253"/>
                  </a:lnTo>
                  <a:lnTo>
                    <a:pt x="240" y="253"/>
                  </a:lnTo>
                  <a:lnTo>
                    <a:pt x="241" y="260"/>
                  </a:lnTo>
                  <a:lnTo>
                    <a:pt x="245" y="260"/>
                  </a:lnTo>
                  <a:lnTo>
                    <a:pt x="246" y="267"/>
                  </a:lnTo>
                  <a:lnTo>
                    <a:pt x="250" y="266"/>
                  </a:lnTo>
                  <a:lnTo>
                    <a:pt x="251" y="274"/>
                  </a:lnTo>
                  <a:lnTo>
                    <a:pt x="254" y="273"/>
                  </a:lnTo>
                  <a:lnTo>
                    <a:pt x="255" y="277"/>
                  </a:lnTo>
                  <a:lnTo>
                    <a:pt x="267" y="275"/>
                  </a:lnTo>
                  <a:lnTo>
                    <a:pt x="267" y="271"/>
                  </a:lnTo>
                  <a:lnTo>
                    <a:pt x="270" y="271"/>
                  </a:lnTo>
                  <a:lnTo>
                    <a:pt x="268" y="263"/>
                  </a:lnTo>
                  <a:lnTo>
                    <a:pt x="265" y="264"/>
                  </a:lnTo>
                  <a:lnTo>
                    <a:pt x="263" y="257"/>
                  </a:lnTo>
                  <a:lnTo>
                    <a:pt x="259" y="257"/>
                  </a:lnTo>
                  <a:lnTo>
                    <a:pt x="258" y="250"/>
                  </a:lnTo>
                  <a:lnTo>
                    <a:pt x="254" y="251"/>
                  </a:lnTo>
                  <a:lnTo>
                    <a:pt x="253" y="243"/>
                  </a:lnTo>
                  <a:lnTo>
                    <a:pt x="249" y="244"/>
                  </a:lnTo>
                  <a:lnTo>
                    <a:pt x="248" y="240"/>
                  </a:lnTo>
                  <a:lnTo>
                    <a:pt x="272" y="235"/>
                  </a:lnTo>
                  <a:lnTo>
                    <a:pt x="271" y="232"/>
                  </a:lnTo>
                  <a:lnTo>
                    <a:pt x="267" y="233"/>
                  </a:lnTo>
                  <a:lnTo>
                    <a:pt x="267" y="228"/>
                  </a:lnTo>
                  <a:lnTo>
                    <a:pt x="262" y="229"/>
                  </a:lnTo>
                  <a:lnTo>
                    <a:pt x="262" y="225"/>
                  </a:lnTo>
                  <a:lnTo>
                    <a:pt x="257" y="226"/>
                  </a:lnTo>
                  <a:lnTo>
                    <a:pt x="256" y="221"/>
                  </a:lnTo>
                  <a:lnTo>
                    <a:pt x="252" y="222"/>
                  </a:lnTo>
                  <a:lnTo>
                    <a:pt x="251" y="218"/>
                  </a:lnTo>
                  <a:lnTo>
                    <a:pt x="247" y="219"/>
                  </a:lnTo>
                  <a:lnTo>
                    <a:pt x="246" y="215"/>
                  </a:lnTo>
                  <a:lnTo>
                    <a:pt x="242" y="215"/>
                  </a:lnTo>
                  <a:lnTo>
                    <a:pt x="241" y="211"/>
                  </a:lnTo>
                  <a:lnTo>
                    <a:pt x="237" y="212"/>
                  </a:lnTo>
                  <a:lnTo>
                    <a:pt x="236" y="208"/>
                  </a:lnTo>
                  <a:lnTo>
                    <a:pt x="232" y="208"/>
                  </a:lnTo>
                  <a:lnTo>
                    <a:pt x="231" y="204"/>
                  </a:lnTo>
                  <a:lnTo>
                    <a:pt x="227" y="205"/>
                  </a:lnTo>
                  <a:lnTo>
                    <a:pt x="226" y="201"/>
                  </a:lnTo>
                  <a:lnTo>
                    <a:pt x="221" y="202"/>
                  </a:lnTo>
                  <a:lnTo>
                    <a:pt x="221" y="197"/>
                  </a:lnTo>
                  <a:lnTo>
                    <a:pt x="216" y="198"/>
                  </a:lnTo>
                  <a:lnTo>
                    <a:pt x="215" y="194"/>
                  </a:lnTo>
                  <a:lnTo>
                    <a:pt x="211" y="195"/>
                  </a:lnTo>
                  <a:lnTo>
                    <a:pt x="210" y="190"/>
                  </a:lnTo>
                  <a:lnTo>
                    <a:pt x="207" y="191"/>
                  </a:lnTo>
                  <a:lnTo>
                    <a:pt x="206" y="187"/>
                  </a:lnTo>
                  <a:close/>
                  <a:moveTo>
                    <a:pt x="40" y="141"/>
                  </a:moveTo>
                  <a:lnTo>
                    <a:pt x="297" y="141"/>
                  </a:lnTo>
                  <a:lnTo>
                    <a:pt x="297" y="292"/>
                  </a:lnTo>
                  <a:lnTo>
                    <a:pt x="40" y="292"/>
                  </a:lnTo>
                  <a:lnTo>
                    <a:pt x="40" y="141"/>
                  </a:lnTo>
                  <a:close/>
                </a:path>
              </a:pathLst>
            </a:custGeom>
            <a:solidFill>
              <a:srgbClr val="F8F8F8"/>
            </a:solidFill>
            <a:ln>
              <a:noFill/>
            </a:ln>
          </p:spPr>
          <p:txBody>
            <a:bodyPr vert="horz" wrap="square" lIns="91404" tIns="45702" rIns="91404" bIns="45702" numCol="1" anchor="t" anchorCtr="0" compatLnSpc="1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None/>
                <a:defRPr/>
              </a:pPr>
              <a:endParaRPr lang="zh-CN" altLang="en-US" sz="1799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8" name="组合 7"/>
          <p:cNvGrpSpPr/>
          <p:nvPr/>
        </p:nvGrpSpPr>
        <p:grpSpPr>
          <a:xfrm>
            <a:off x="10902188" y="737425"/>
            <a:ext cx="421207" cy="437802"/>
            <a:chOff x="10486350" y="391614"/>
            <a:chExt cx="421373" cy="437973"/>
          </a:xfrm>
          <a:solidFill>
            <a:schemeClr val="accent1"/>
          </a:solidFill>
        </p:grpSpPr>
        <p:sp>
          <p:nvSpPr>
            <p:cNvPr id="9" name="Oval 13"/>
            <p:cNvSpPr>
              <a:spLocks noChangeArrowheads="1"/>
            </p:cNvSpPr>
            <p:nvPr/>
          </p:nvSpPr>
          <p:spPr bwMode="auto">
            <a:xfrm>
              <a:off x="10486350" y="391614"/>
              <a:ext cx="421373" cy="437973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txBody>
            <a:bodyPr vert="horz" wrap="square" lIns="91404" tIns="45702" rIns="91404" bIns="45702" numCol="1" anchor="t" anchorCtr="0" compatLnSpc="1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None/>
                <a:defRPr/>
              </a:pPr>
              <a:endParaRPr lang="zh-CN" altLang="en-US" sz="1799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" name="Freeform 15"/>
            <p:cNvSpPr>
              <a:spLocks noEditPoints="1"/>
            </p:cNvSpPr>
            <p:nvPr/>
          </p:nvSpPr>
          <p:spPr bwMode="auto">
            <a:xfrm>
              <a:off x="10532318" y="455458"/>
              <a:ext cx="334545" cy="293685"/>
            </a:xfrm>
            <a:custGeom>
              <a:avLst/>
              <a:gdLst>
                <a:gd name="T0" fmla="*/ 318 w 454"/>
                <a:gd name="T1" fmla="*/ 238 h 383"/>
                <a:gd name="T2" fmla="*/ 251 w 454"/>
                <a:gd name="T3" fmla="*/ 238 h 383"/>
                <a:gd name="T4" fmla="*/ 251 w 454"/>
                <a:gd name="T5" fmla="*/ 305 h 383"/>
                <a:gd name="T6" fmla="*/ 202 w 454"/>
                <a:gd name="T7" fmla="*/ 305 h 383"/>
                <a:gd name="T8" fmla="*/ 202 w 454"/>
                <a:gd name="T9" fmla="*/ 238 h 383"/>
                <a:gd name="T10" fmla="*/ 135 w 454"/>
                <a:gd name="T11" fmla="*/ 238 h 383"/>
                <a:gd name="T12" fmla="*/ 135 w 454"/>
                <a:gd name="T13" fmla="*/ 189 h 383"/>
                <a:gd name="T14" fmla="*/ 202 w 454"/>
                <a:gd name="T15" fmla="*/ 189 h 383"/>
                <a:gd name="T16" fmla="*/ 202 w 454"/>
                <a:gd name="T17" fmla="*/ 122 h 383"/>
                <a:gd name="T18" fmla="*/ 251 w 454"/>
                <a:gd name="T19" fmla="*/ 122 h 383"/>
                <a:gd name="T20" fmla="*/ 251 w 454"/>
                <a:gd name="T21" fmla="*/ 189 h 383"/>
                <a:gd name="T22" fmla="*/ 318 w 454"/>
                <a:gd name="T23" fmla="*/ 189 h 383"/>
                <a:gd name="T24" fmla="*/ 318 w 454"/>
                <a:gd name="T25" fmla="*/ 238 h 383"/>
                <a:gd name="T26" fmla="*/ 417 w 454"/>
                <a:gd name="T27" fmla="*/ 123 h 383"/>
                <a:gd name="T28" fmla="*/ 227 w 454"/>
                <a:gd name="T29" fmla="*/ 91 h 383"/>
                <a:gd name="T30" fmla="*/ 37 w 454"/>
                <a:gd name="T31" fmla="*/ 123 h 383"/>
                <a:gd name="T32" fmla="*/ 227 w 454"/>
                <a:gd name="T33" fmla="*/ 383 h 383"/>
                <a:gd name="T34" fmla="*/ 417 w 454"/>
                <a:gd name="T35" fmla="*/ 123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54" h="383">
                  <a:moveTo>
                    <a:pt x="318" y="238"/>
                  </a:moveTo>
                  <a:lnTo>
                    <a:pt x="251" y="238"/>
                  </a:lnTo>
                  <a:lnTo>
                    <a:pt x="251" y="305"/>
                  </a:lnTo>
                  <a:lnTo>
                    <a:pt x="202" y="305"/>
                  </a:lnTo>
                  <a:lnTo>
                    <a:pt x="202" y="238"/>
                  </a:lnTo>
                  <a:lnTo>
                    <a:pt x="135" y="238"/>
                  </a:lnTo>
                  <a:lnTo>
                    <a:pt x="135" y="189"/>
                  </a:lnTo>
                  <a:lnTo>
                    <a:pt x="202" y="189"/>
                  </a:lnTo>
                  <a:lnTo>
                    <a:pt x="202" y="122"/>
                  </a:lnTo>
                  <a:lnTo>
                    <a:pt x="251" y="122"/>
                  </a:lnTo>
                  <a:lnTo>
                    <a:pt x="251" y="189"/>
                  </a:lnTo>
                  <a:lnTo>
                    <a:pt x="318" y="189"/>
                  </a:lnTo>
                  <a:lnTo>
                    <a:pt x="318" y="238"/>
                  </a:lnTo>
                  <a:close/>
                  <a:moveTo>
                    <a:pt x="417" y="123"/>
                  </a:moveTo>
                  <a:cubicBezTo>
                    <a:pt x="384" y="0"/>
                    <a:pt x="249" y="77"/>
                    <a:pt x="227" y="91"/>
                  </a:cubicBezTo>
                  <a:cubicBezTo>
                    <a:pt x="204" y="77"/>
                    <a:pt x="69" y="1"/>
                    <a:pt x="37" y="123"/>
                  </a:cubicBezTo>
                  <a:cubicBezTo>
                    <a:pt x="0" y="265"/>
                    <a:pt x="226" y="382"/>
                    <a:pt x="227" y="383"/>
                  </a:cubicBezTo>
                  <a:cubicBezTo>
                    <a:pt x="227" y="383"/>
                    <a:pt x="454" y="263"/>
                    <a:pt x="417" y="123"/>
                  </a:cubicBezTo>
                  <a:close/>
                </a:path>
              </a:pathLst>
            </a:custGeom>
            <a:solidFill>
              <a:srgbClr val="F8F8F8"/>
            </a:solidFill>
            <a:ln>
              <a:noFill/>
            </a:ln>
          </p:spPr>
          <p:txBody>
            <a:bodyPr vert="horz" wrap="square" lIns="91404" tIns="45702" rIns="91404" bIns="45702" numCol="1" anchor="t" anchorCtr="0" compatLnSpc="1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None/>
                <a:defRPr/>
              </a:pPr>
              <a:endParaRPr lang="zh-CN" altLang="en-US" sz="1799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11" name="Freeform 16"/>
          <p:cNvSpPr>
            <a:spLocks noEditPoints="1"/>
          </p:cNvSpPr>
          <p:nvPr/>
        </p:nvSpPr>
        <p:spPr>
          <a:xfrm>
            <a:off x="9059499" y="826517"/>
            <a:ext cx="514149" cy="258662"/>
          </a:xfrm>
          <a:custGeom>
            <a:avLst/>
            <a:gdLst/>
            <a:ahLst/>
            <a:cxnLst>
              <a:cxn ang="0">
                <a:pos x="49324" y="162581"/>
              </a:cxn>
              <a:cxn ang="0">
                <a:pos x="49324" y="143409"/>
              </a:cxn>
              <a:cxn ang="0">
                <a:pos x="60366" y="110432"/>
              </a:cxn>
              <a:cxn ang="0">
                <a:pos x="0" y="110432"/>
              </a:cxn>
              <a:cxn ang="0">
                <a:pos x="0" y="91260"/>
              </a:cxn>
              <a:cxn ang="0">
                <a:pos x="68464" y="91260"/>
              </a:cxn>
              <a:cxn ang="0">
                <a:pos x="82452" y="55216"/>
              </a:cxn>
              <a:cxn ang="0">
                <a:pos x="15460" y="55216"/>
              </a:cxn>
              <a:cxn ang="0">
                <a:pos x="15460" y="34510"/>
              </a:cxn>
              <a:cxn ang="0">
                <a:pos x="89813" y="34510"/>
              </a:cxn>
              <a:cxn ang="0">
                <a:pos x="103064" y="0"/>
              </a:cxn>
              <a:cxn ang="0">
                <a:pos x="125150" y="0"/>
              </a:cxn>
              <a:cxn ang="0">
                <a:pos x="111899" y="34510"/>
              </a:cxn>
              <a:cxn ang="0">
                <a:pos x="231159" y="34510"/>
              </a:cxn>
              <a:cxn ang="0">
                <a:pos x="231159" y="55216"/>
              </a:cxn>
              <a:cxn ang="0">
                <a:pos x="103064" y="55216"/>
              </a:cxn>
              <a:cxn ang="0">
                <a:pos x="89813" y="91260"/>
              </a:cxn>
              <a:cxn ang="0">
                <a:pos x="248091" y="91260"/>
              </a:cxn>
              <a:cxn ang="0">
                <a:pos x="248091" y="110432"/>
              </a:cxn>
              <a:cxn ang="0">
                <a:pos x="82452" y="110432"/>
              </a:cxn>
              <a:cxn ang="0">
                <a:pos x="69937" y="143409"/>
              </a:cxn>
              <a:cxn ang="0">
                <a:pos x="217908" y="143409"/>
              </a:cxn>
              <a:cxn ang="0">
                <a:pos x="217908" y="164115"/>
              </a:cxn>
              <a:cxn ang="0">
                <a:pos x="150916" y="223932"/>
              </a:cxn>
              <a:cxn ang="0">
                <a:pos x="185516" y="240037"/>
              </a:cxn>
              <a:cxn ang="0">
                <a:pos x="173001" y="259209"/>
              </a:cxn>
              <a:cxn ang="0">
                <a:pos x="50060" y="197858"/>
              </a:cxn>
              <a:cxn ang="0">
                <a:pos x="60366" y="180219"/>
              </a:cxn>
              <a:cxn ang="0">
                <a:pos x="132511" y="214729"/>
              </a:cxn>
              <a:cxn ang="0">
                <a:pos x="189933" y="162581"/>
              </a:cxn>
              <a:cxn ang="0">
                <a:pos x="49324" y="162581"/>
              </a:cxn>
              <a:cxn ang="0">
                <a:pos x="411522" y="4601"/>
              </a:cxn>
              <a:cxn ang="0">
                <a:pos x="432134" y="4601"/>
              </a:cxn>
              <a:cxn ang="0">
                <a:pos x="432134" y="221631"/>
              </a:cxn>
              <a:cxn ang="0">
                <a:pos x="514586" y="221631"/>
              </a:cxn>
              <a:cxn ang="0">
                <a:pos x="514586" y="240037"/>
              </a:cxn>
              <a:cxn ang="0">
                <a:pos x="265759" y="240037"/>
              </a:cxn>
              <a:cxn ang="0">
                <a:pos x="265759" y="221631"/>
              </a:cxn>
              <a:cxn ang="0">
                <a:pos x="346738" y="221631"/>
              </a:cxn>
              <a:cxn ang="0">
                <a:pos x="346738" y="4601"/>
              </a:cxn>
              <a:cxn ang="0">
                <a:pos x="368087" y="4601"/>
              </a:cxn>
              <a:cxn ang="0">
                <a:pos x="368087" y="221631"/>
              </a:cxn>
              <a:cxn ang="0">
                <a:pos x="411522" y="221631"/>
              </a:cxn>
              <a:cxn ang="0">
                <a:pos x="411522" y="4601"/>
              </a:cxn>
              <a:cxn ang="0">
                <a:pos x="295206" y="56750"/>
              </a:cxn>
              <a:cxn ang="0">
                <a:pos x="334223" y="164115"/>
              </a:cxn>
              <a:cxn ang="0">
                <a:pos x="315083" y="172550"/>
              </a:cxn>
              <a:cxn ang="0">
                <a:pos x="276065" y="62885"/>
              </a:cxn>
              <a:cxn ang="0">
                <a:pos x="295206" y="56750"/>
              </a:cxn>
              <a:cxn ang="0">
                <a:pos x="441705" y="164115"/>
              </a:cxn>
              <a:cxn ang="0">
                <a:pos x="484403" y="56750"/>
              </a:cxn>
              <a:cxn ang="0">
                <a:pos x="504280" y="65186"/>
              </a:cxn>
              <a:cxn ang="0">
                <a:pos x="459373" y="172550"/>
              </a:cxn>
              <a:cxn ang="0">
                <a:pos x="441705" y="164115"/>
              </a:cxn>
            </a:cxnLst>
            <a:rect l="0" t="0" r="0" b="0"/>
            <a:pathLst>
              <a:path w="699" h="338">
                <a:moveTo>
                  <a:pt x="67" y="212"/>
                </a:moveTo>
                <a:lnTo>
                  <a:pt x="67" y="187"/>
                </a:lnTo>
                <a:lnTo>
                  <a:pt x="82" y="144"/>
                </a:lnTo>
                <a:lnTo>
                  <a:pt x="0" y="144"/>
                </a:lnTo>
                <a:lnTo>
                  <a:pt x="0" y="119"/>
                </a:lnTo>
                <a:lnTo>
                  <a:pt x="93" y="119"/>
                </a:lnTo>
                <a:lnTo>
                  <a:pt x="112" y="72"/>
                </a:lnTo>
                <a:lnTo>
                  <a:pt x="21" y="72"/>
                </a:lnTo>
                <a:lnTo>
                  <a:pt x="21" y="45"/>
                </a:lnTo>
                <a:lnTo>
                  <a:pt x="122" y="45"/>
                </a:lnTo>
                <a:lnTo>
                  <a:pt x="140" y="0"/>
                </a:lnTo>
                <a:lnTo>
                  <a:pt x="170" y="0"/>
                </a:lnTo>
                <a:lnTo>
                  <a:pt x="152" y="45"/>
                </a:lnTo>
                <a:lnTo>
                  <a:pt x="314" y="45"/>
                </a:lnTo>
                <a:lnTo>
                  <a:pt x="314" y="72"/>
                </a:lnTo>
                <a:lnTo>
                  <a:pt x="140" y="72"/>
                </a:lnTo>
                <a:lnTo>
                  <a:pt x="122" y="119"/>
                </a:lnTo>
                <a:lnTo>
                  <a:pt x="337" y="119"/>
                </a:lnTo>
                <a:lnTo>
                  <a:pt x="337" y="144"/>
                </a:lnTo>
                <a:lnTo>
                  <a:pt x="112" y="144"/>
                </a:lnTo>
                <a:lnTo>
                  <a:pt x="95" y="187"/>
                </a:lnTo>
                <a:lnTo>
                  <a:pt x="296" y="187"/>
                </a:lnTo>
                <a:lnTo>
                  <a:pt x="296" y="214"/>
                </a:lnTo>
                <a:lnTo>
                  <a:pt x="205" y="292"/>
                </a:lnTo>
                <a:cubicBezTo>
                  <a:pt x="221" y="297"/>
                  <a:pt x="237" y="304"/>
                  <a:pt x="252" y="313"/>
                </a:cubicBezTo>
                <a:lnTo>
                  <a:pt x="235" y="338"/>
                </a:lnTo>
                <a:cubicBezTo>
                  <a:pt x="183" y="311"/>
                  <a:pt x="127" y="284"/>
                  <a:pt x="68" y="258"/>
                </a:cubicBezTo>
                <a:lnTo>
                  <a:pt x="82" y="235"/>
                </a:lnTo>
                <a:cubicBezTo>
                  <a:pt x="112" y="248"/>
                  <a:pt x="145" y="263"/>
                  <a:pt x="180" y="280"/>
                </a:cubicBezTo>
                <a:lnTo>
                  <a:pt x="258" y="212"/>
                </a:lnTo>
                <a:lnTo>
                  <a:pt x="67" y="212"/>
                </a:lnTo>
                <a:close/>
                <a:moveTo>
                  <a:pt x="559" y="6"/>
                </a:moveTo>
                <a:lnTo>
                  <a:pt x="587" y="6"/>
                </a:lnTo>
                <a:lnTo>
                  <a:pt x="587" y="289"/>
                </a:lnTo>
                <a:lnTo>
                  <a:pt x="699" y="289"/>
                </a:lnTo>
                <a:lnTo>
                  <a:pt x="699" y="313"/>
                </a:lnTo>
                <a:lnTo>
                  <a:pt x="361" y="313"/>
                </a:lnTo>
                <a:lnTo>
                  <a:pt x="361" y="289"/>
                </a:lnTo>
                <a:lnTo>
                  <a:pt x="471" y="289"/>
                </a:lnTo>
                <a:lnTo>
                  <a:pt x="471" y="6"/>
                </a:lnTo>
                <a:lnTo>
                  <a:pt x="500" y="6"/>
                </a:lnTo>
                <a:lnTo>
                  <a:pt x="500" y="289"/>
                </a:lnTo>
                <a:lnTo>
                  <a:pt x="559" y="289"/>
                </a:lnTo>
                <a:lnTo>
                  <a:pt x="559" y="6"/>
                </a:lnTo>
                <a:close/>
                <a:moveTo>
                  <a:pt x="401" y="74"/>
                </a:moveTo>
                <a:cubicBezTo>
                  <a:pt x="420" y="121"/>
                  <a:pt x="438" y="167"/>
                  <a:pt x="454" y="214"/>
                </a:cubicBezTo>
                <a:lnTo>
                  <a:pt x="428" y="225"/>
                </a:lnTo>
                <a:cubicBezTo>
                  <a:pt x="412" y="177"/>
                  <a:pt x="394" y="129"/>
                  <a:pt x="375" y="82"/>
                </a:cubicBezTo>
                <a:lnTo>
                  <a:pt x="401" y="74"/>
                </a:lnTo>
                <a:close/>
                <a:moveTo>
                  <a:pt x="600" y="214"/>
                </a:moveTo>
                <a:cubicBezTo>
                  <a:pt x="618" y="179"/>
                  <a:pt x="637" y="132"/>
                  <a:pt x="658" y="74"/>
                </a:cubicBezTo>
                <a:lnTo>
                  <a:pt x="685" y="85"/>
                </a:lnTo>
                <a:cubicBezTo>
                  <a:pt x="660" y="151"/>
                  <a:pt x="639" y="198"/>
                  <a:pt x="624" y="225"/>
                </a:cubicBezTo>
                <a:lnTo>
                  <a:pt x="600" y="214"/>
                </a:lnTo>
                <a:close/>
              </a:path>
            </a:pathLst>
          </a:custGeom>
          <a:solidFill>
            <a:schemeClr val="tx1"/>
          </a:solidFill>
          <a:ln w="9525">
            <a:noFill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endParaRPr lang="zh-CN" altLang="en-US" sz="1799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" name="Freeform 17"/>
          <p:cNvSpPr>
            <a:spLocks noEditPoints="1"/>
          </p:cNvSpPr>
          <p:nvPr/>
        </p:nvSpPr>
        <p:spPr>
          <a:xfrm>
            <a:off x="10241725" y="829690"/>
            <a:ext cx="501454" cy="253901"/>
          </a:xfrm>
          <a:custGeom>
            <a:avLst/>
            <a:gdLst/>
            <a:ahLst/>
            <a:cxnLst>
              <a:cxn ang="0">
                <a:pos x="197931" y="6930"/>
              </a:cxn>
              <a:cxn ang="0">
                <a:pos x="25017" y="102410"/>
              </a:cxn>
              <a:cxn ang="0">
                <a:pos x="0" y="132441"/>
              </a:cxn>
              <a:cxn ang="0">
                <a:pos x="95654" y="251791"/>
              </a:cxn>
              <a:cxn ang="0">
                <a:pos x="75788" y="234851"/>
              </a:cxn>
              <a:cxn ang="0">
                <a:pos x="18395" y="251791"/>
              </a:cxn>
              <a:cxn ang="0">
                <a:pos x="0" y="132441"/>
              </a:cxn>
              <a:cxn ang="0">
                <a:pos x="222948" y="132441"/>
              </a:cxn>
              <a:cxn ang="0">
                <a:pos x="203817" y="251791"/>
              </a:cxn>
              <a:cxn ang="0">
                <a:pos x="146425" y="234851"/>
              </a:cxn>
              <a:cxn ang="0">
                <a:pos x="126558" y="251791"/>
              </a:cxn>
              <a:cxn ang="0">
                <a:pos x="44884" y="25410"/>
              </a:cxn>
              <a:cxn ang="0">
                <a:pos x="178064" y="83930"/>
              </a:cxn>
              <a:cxn ang="0">
                <a:pos x="44884" y="25410"/>
              </a:cxn>
              <a:cxn ang="0">
                <a:pos x="146425" y="219451"/>
              </a:cxn>
              <a:cxn ang="0">
                <a:pos x="203817" y="150921"/>
              </a:cxn>
              <a:cxn ang="0">
                <a:pos x="18395" y="150921"/>
              </a:cxn>
              <a:cxn ang="0">
                <a:pos x="75788" y="217911"/>
              </a:cxn>
              <a:cxn ang="0">
                <a:pos x="18395" y="150921"/>
              </a:cxn>
              <a:cxn ang="0">
                <a:pos x="409106" y="29260"/>
              </a:cxn>
              <a:cxn ang="0">
                <a:pos x="495195" y="59290"/>
              </a:cxn>
              <a:cxn ang="0">
                <a:pos x="409106" y="76230"/>
              </a:cxn>
              <a:cxn ang="0">
                <a:pos x="477536" y="107800"/>
              </a:cxn>
              <a:cxn ang="0">
                <a:pos x="459140" y="200971"/>
              </a:cxn>
              <a:cxn ang="0">
                <a:pos x="341412" y="125510"/>
              </a:cxn>
              <a:cxn ang="0">
                <a:pos x="323017" y="200971"/>
              </a:cxn>
              <a:cxn ang="0">
                <a:pos x="390711" y="107800"/>
              </a:cxn>
              <a:cxn ang="0">
                <a:pos x="306829" y="76230"/>
              </a:cxn>
              <a:cxn ang="0">
                <a:pos x="390711" y="59290"/>
              </a:cxn>
              <a:cxn ang="0">
                <a:pos x="276662" y="10010"/>
              </a:cxn>
              <a:cxn ang="0">
                <a:pos x="497402" y="20020"/>
              </a:cxn>
              <a:cxn ang="0">
                <a:pos x="296528" y="97020"/>
              </a:cxn>
              <a:cxn ang="0">
                <a:pos x="265625" y="253331"/>
              </a:cxn>
              <a:cxn ang="0">
                <a:pos x="276662" y="97020"/>
              </a:cxn>
              <a:cxn ang="0">
                <a:pos x="409842" y="139371"/>
              </a:cxn>
              <a:cxn ang="0">
                <a:pos x="437066" y="201741"/>
              </a:cxn>
              <a:cxn ang="0">
                <a:pos x="491516" y="251791"/>
              </a:cxn>
              <a:cxn ang="0">
                <a:pos x="303150" y="254101"/>
              </a:cxn>
              <a:cxn ang="0">
                <a:pos x="391447" y="139371"/>
              </a:cxn>
            </a:cxnLst>
            <a:rect l="0" t="0" r="0" b="0"/>
            <a:pathLst>
              <a:path w="682" h="330">
                <a:moveTo>
                  <a:pt x="34" y="9"/>
                </a:moveTo>
                <a:lnTo>
                  <a:pt x="269" y="9"/>
                </a:lnTo>
                <a:lnTo>
                  <a:pt x="269" y="133"/>
                </a:lnTo>
                <a:lnTo>
                  <a:pt x="34" y="133"/>
                </a:lnTo>
                <a:lnTo>
                  <a:pt x="34" y="9"/>
                </a:lnTo>
                <a:close/>
                <a:moveTo>
                  <a:pt x="0" y="172"/>
                </a:moveTo>
                <a:lnTo>
                  <a:pt x="130" y="172"/>
                </a:lnTo>
                <a:lnTo>
                  <a:pt x="130" y="327"/>
                </a:lnTo>
                <a:lnTo>
                  <a:pt x="103" y="327"/>
                </a:lnTo>
                <a:lnTo>
                  <a:pt x="103" y="305"/>
                </a:lnTo>
                <a:lnTo>
                  <a:pt x="25" y="305"/>
                </a:lnTo>
                <a:lnTo>
                  <a:pt x="25" y="327"/>
                </a:lnTo>
                <a:lnTo>
                  <a:pt x="0" y="327"/>
                </a:lnTo>
                <a:lnTo>
                  <a:pt x="0" y="172"/>
                </a:lnTo>
                <a:close/>
                <a:moveTo>
                  <a:pt x="172" y="172"/>
                </a:moveTo>
                <a:lnTo>
                  <a:pt x="303" y="172"/>
                </a:lnTo>
                <a:lnTo>
                  <a:pt x="303" y="327"/>
                </a:lnTo>
                <a:lnTo>
                  <a:pt x="277" y="327"/>
                </a:lnTo>
                <a:lnTo>
                  <a:pt x="277" y="305"/>
                </a:lnTo>
                <a:lnTo>
                  <a:pt x="199" y="305"/>
                </a:lnTo>
                <a:lnTo>
                  <a:pt x="199" y="327"/>
                </a:lnTo>
                <a:lnTo>
                  <a:pt x="172" y="327"/>
                </a:lnTo>
                <a:lnTo>
                  <a:pt x="172" y="172"/>
                </a:lnTo>
                <a:close/>
                <a:moveTo>
                  <a:pt x="61" y="33"/>
                </a:moveTo>
                <a:lnTo>
                  <a:pt x="61" y="109"/>
                </a:lnTo>
                <a:lnTo>
                  <a:pt x="242" y="109"/>
                </a:lnTo>
                <a:lnTo>
                  <a:pt x="242" y="33"/>
                </a:lnTo>
                <a:lnTo>
                  <a:pt x="61" y="33"/>
                </a:lnTo>
                <a:close/>
                <a:moveTo>
                  <a:pt x="199" y="196"/>
                </a:moveTo>
                <a:lnTo>
                  <a:pt x="199" y="285"/>
                </a:lnTo>
                <a:lnTo>
                  <a:pt x="277" y="285"/>
                </a:lnTo>
                <a:lnTo>
                  <a:pt x="277" y="196"/>
                </a:lnTo>
                <a:lnTo>
                  <a:pt x="199" y="196"/>
                </a:lnTo>
                <a:close/>
                <a:moveTo>
                  <a:pt x="25" y="196"/>
                </a:moveTo>
                <a:lnTo>
                  <a:pt x="25" y="283"/>
                </a:lnTo>
                <a:lnTo>
                  <a:pt x="103" y="283"/>
                </a:lnTo>
                <a:lnTo>
                  <a:pt x="103" y="196"/>
                </a:lnTo>
                <a:lnTo>
                  <a:pt x="25" y="196"/>
                </a:lnTo>
                <a:close/>
                <a:moveTo>
                  <a:pt x="531" y="38"/>
                </a:moveTo>
                <a:lnTo>
                  <a:pt x="556" y="38"/>
                </a:lnTo>
                <a:lnTo>
                  <a:pt x="556" y="77"/>
                </a:lnTo>
                <a:lnTo>
                  <a:pt x="673" y="77"/>
                </a:lnTo>
                <a:lnTo>
                  <a:pt x="673" y="99"/>
                </a:lnTo>
                <a:lnTo>
                  <a:pt x="556" y="99"/>
                </a:lnTo>
                <a:lnTo>
                  <a:pt x="556" y="140"/>
                </a:lnTo>
                <a:lnTo>
                  <a:pt x="649" y="140"/>
                </a:lnTo>
                <a:lnTo>
                  <a:pt x="649" y="261"/>
                </a:lnTo>
                <a:lnTo>
                  <a:pt x="624" y="261"/>
                </a:lnTo>
                <a:lnTo>
                  <a:pt x="624" y="163"/>
                </a:lnTo>
                <a:lnTo>
                  <a:pt x="464" y="163"/>
                </a:lnTo>
                <a:lnTo>
                  <a:pt x="464" y="261"/>
                </a:lnTo>
                <a:lnTo>
                  <a:pt x="439" y="261"/>
                </a:lnTo>
                <a:lnTo>
                  <a:pt x="439" y="140"/>
                </a:lnTo>
                <a:lnTo>
                  <a:pt x="531" y="140"/>
                </a:lnTo>
                <a:lnTo>
                  <a:pt x="531" y="99"/>
                </a:lnTo>
                <a:lnTo>
                  <a:pt x="417" y="99"/>
                </a:lnTo>
                <a:lnTo>
                  <a:pt x="417" y="77"/>
                </a:lnTo>
                <a:lnTo>
                  <a:pt x="531" y="77"/>
                </a:lnTo>
                <a:lnTo>
                  <a:pt x="531" y="38"/>
                </a:lnTo>
                <a:close/>
                <a:moveTo>
                  <a:pt x="376" y="13"/>
                </a:moveTo>
                <a:cubicBezTo>
                  <a:pt x="490" y="13"/>
                  <a:pt x="588" y="9"/>
                  <a:pt x="669" y="0"/>
                </a:cubicBezTo>
                <a:lnTo>
                  <a:pt x="676" y="26"/>
                </a:lnTo>
                <a:cubicBezTo>
                  <a:pt x="607" y="30"/>
                  <a:pt x="516" y="34"/>
                  <a:pt x="403" y="37"/>
                </a:cubicBezTo>
                <a:lnTo>
                  <a:pt x="403" y="126"/>
                </a:lnTo>
                <a:cubicBezTo>
                  <a:pt x="403" y="182"/>
                  <a:pt x="400" y="224"/>
                  <a:pt x="395" y="252"/>
                </a:cubicBezTo>
                <a:cubicBezTo>
                  <a:pt x="388" y="281"/>
                  <a:pt x="377" y="307"/>
                  <a:pt x="361" y="329"/>
                </a:cubicBezTo>
                <a:cubicBezTo>
                  <a:pt x="354" y="321"/>
                  <a:pt x="347" y="314"/>
                  <a:pt x="339" y="307"/>
                </a:cubicBezTo>
                <a:cubicBezTo>
                  <a:pt x="366" y="280"/>
                  <a:pt x="378" y="220"/>
                  <a:pt x="376" y="126"/>
                </a:cubicBezTo>
                <a:lnTo>
                  <a:pt x="376" y="13"/>
                </a:lnTo>
                <a:close/>
                <a:moveTo>
                  <a:pt x="557" y="181"/>
                </a:moveTo>
                <a:cubicBezTo>
                  <a:pt x="557" y="202"/>
                  <a:pt x="555" y="222"/>
                  <a:pt x="550" y="241"/>
                </a:cubicBezTo>
                <a:cubicBezTo>
                  <a:pt x="560" y="246"/>
                  <a:pt x="574" y="253"/>
                  <a:pt x="594" y="262"/>
                </a:cubicBezTo>
                <a:cubicBezTo>
                  <a:pt x="636" y="282"/>
                  <a:pt x="665" y="296"/>
                  <a:pt x="682" y="303"/>
                </a:cubicBezTo>
                <a:lnTo>
                  <a:pt x="668" y="327"/>
                </a:lnTo>
                <a:cubicBezTo>
                  <a:pt x="634" y="308"/>
                  <a:pt x="591" y="287"/>
                  <a:pt x="540" y="264"/>
                </a:cubicBezTo>
                <a:cubicBezTo>
                  <a:pt x="523" y="292"/>
                  <a:pt x="481" y="314"/>
                  <a:pt x="412" y="330"/>
                </a:cubicBezTo>
                <a:cubicBezTo>
                  <a:pt x="408" y="323"/>
                  <a:pt x="403" y="315"/>
                  <a:pt x="398" y="305"/>
                </a:cubicBezTo>
                <a:cubicBezTo>
                  <a:pt x="495" y="294"/>
                  <a:pt x="540" y="253"/>
                  <a:pt x="532" y="181"/>
                </a:cubicBezTo>
                <a:lnTo>
                  <a:pt x="557" y="181"/>
                </a:lnTo>
                <a:close/>
              </a:path>
            </a:pathLst>
          </a:custGeom>
          <a:solidFill>
            <a:schemeClr val="tx1"/>
          </a:solidFill>
          <a:ln w="9525">
            <a:noFill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endParaRPr lang="zh-CN" altLang="en-US" sz="1799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" name="Freeform 18"/>
          <p:cNvSpPr>
            <a:spLocks noEditPoints="1"/>
          </p:cNvSpPr>
          <p:nvPr/>
        </p:nvSpPr>
        <p:spPr>
          <a:xfrm>
            <a:off x="11369997" y="824931"/>
            <a:ext cx="520497" cy="261835"/>
          </a:xfrm>
          <a:custGeom>
            <a:avLst/>
            <a:gdLst/>
            <a:ahLst/>
            <a:cxnLst>
              <a:cxn ang="0">
                <a:pos x="235152" y="19135"/>
              </a:cxn>
              <a:cxn ang="0">
                <a:pos x="193135" y="93377"/>
              </a:cxn>
              <a:cxn ang="0">
                <a:pos x="158488" y="81896"/>
              </a:cxn>
              <a:cxn ang="0">
                <a:pos x="190186" y="73477"/>
              </a:cxn>
              <a:cxn ang="0">
                <a:pos x="215249" y="37504"/>
              </a:cxn>
              <a:cxn ang="0">
                <a:pos x="129739" y="112512"/>
              </a:cxn>
              <a:cxn ang="0">
                <a:pos x="235889" y="127819"/>
              </a:cxn>
              <a:cxn ang="0">
                <a:pos x="252844" y="240331"/>
              </a:cxn>
              <a:cxn ang="0">
                <a:pos x="185763" y="222727"/>
              </a:cxn>
              <a:cxn ang="0">
                <a:pos x="129739" y="239566"/>
              </a:cxn>
              <a:cxn ang="0">
                <a:pos x="140797" y="130116"/>
              </a:cxn>
              <a:cxn ang="0">
                <a:pos x="129739" y="258700"/>
              </a:cxn>
              <a:cxn ang="0">
                <a:pos x="109836" y="19135"/>
              </a:cxn>
              <a:cxn ang="0">
                <a:pos x="89196" y="17604"/>
              </a:cxn>
              <a:cxn ang="0">
                <a:pos x="64870" y="255639"/>
              </a:cxn>
              <a:cxn ang="0">
                <a:pos x="39069" y="237270"/>
              </a:cxn>
              <a:cxn ang="0">
                <a:pos x="71504" y="227320"/>
              </a:cxn>
              <a:cxn ang="0">
                <a:pos x="35383" y="169150"/>
              </a:cxn>
              <a:cxn ang="0">
                <a:pos x="0" y="244924"/>
              </a:cxn>
              <a:cxn ang="0">
                <a:pos x="17692" y="17604"/>
              </a:cxn>
              <a:cxn ang="0">
                <a:pos x="157751" y="130116"/>
              </a:cxn>
              <a:cxn ang="0">
                <a:pos x="215986" y="130116"/>
              </a:cxn>
              <a:cxn ang="0">
                <a:pos x="35383" y="152312"/>
              </a:cxn>
              <a:cxn ang="0">
                <a:pos x="71504" y="101796"/>
              </a:cxn>
              <a:cxn ang="0">
                <a:pos x="35383" y="34442"/>
              </a:cxn>
              <a:cxn ang="0">
                <a:pos x="71504" y="84192"/>
              </a:cxn>
              <a:cxn ang="0">
                <a:pos x="35383" y="34442"/>
              </a:cxn>
              <a:cxn ang="0">
                <a:pos x="363417" y="8419"/>
              </a:cxn>
              <a:cxn ang="0">
                <a:pos x="349411" y="26789"/>
              </a:cxn>
              <a:cxn ang="0">
                <a:pos x="484311" y="45158"/>
              </a:cxn>
              <a:cxn ang="0">
                <a:pos x="519694" y="117104"/>
              </a:cxn>
              <a:cxn ang="0">
                <a:pos x="396589" y="107919"/>
              </a:cxn>
              <a:cxn ang="0">
                <a:pos x="263901" y="124758"/>
              </a:cxn>
              <a:cxn ang="0">
                <a:pos x="328771" y="52812"/>
              </a:cxn>
              <a:cxn ang="0">
                <a:pos x="271273" y="83427"/>
              </a:cxn>
              <a:cxn ang="0">
                <a:pos x="287490" y="153843"/>
              </a:cxn>
              <a:cxn ang="0">
                <a:pos x="361206" y="151546"/>
              </a:cxn>
              <a:cxn ang="0">
                <a:pos x="384058" y="125523"/>
              </a:cxn>
              <a:cxn ang="0">
                <a:pos x="482099" y="153843"/>
              </a:cxn>
              <a:cxn ang="0">
                <a:pos x="479150" y="205889"/>
              </a:cxn>
              <a:cxn ang="0">
                <a:pos x="390692" y="254108"/>
              </a:cxn>
              <a:cxn ang="0">
                <a:pos x="387006" y="232677"/>
              </a:cxn>
              <a:cxn ang="0">
                <a:pos x="429024" y="234973"/>
              </a:cxn>
              <a:cxn ang="0">
                <a:pos x="461459" y="188285"/>
              </a:cxn>
              <a:cxn ang="0">
                <a:pos x="378160" y="172212"/>
              </a:cxn>
              <a:cxn ang="0">
                <a:pos x="271273" y="244924"/>
              </a:cxn>
              <a:cxn ang="0">
                <a:pos x="287490" y="172212"/>
              </a:cxn>
              <a:cxn ang="0">
                <a:pos x="456299" y="45158"/>
              </a:cxn>
              <a:cxn ang="0">
                <a:pos x="396589" y="86489"/>
              </a:cxn>
            </a:cxnLst>
            <a:rect l="0" t="0" r="0" b="0"/>
            <a:pathLst>
              <a:path w="705" h="342">
                <a:moveTo>
                  <a:pt x="149" y="25"/>
                </a:moveTo>
                <a:lnTo>
                  <a:pt x="319" y="25"/>
                </a:lnTo>
                <a:lnTo>
                  <a:pt x="316" y="76"/>
                </a:lnTo>
                <a:cubicBezTo>
                  <a:pt x="317" y="108"/>
                  <a:pt x="299" y="124"/>
                  <a:pt x="262" y="122"/>
                </a:cubicBezTo>
                <a:cubicBezTo>
                  <a:pt x="248" y="122"/>
                  <a:pt x="233" y="122"/>
                  <a:pt x="218" y="122"/>
                </a:cubicBezTo>
                <a:cubicBezTo>
                  <a:pt x="218" y="119"/>
                  <a:pt x="217" y="114"/>
                  <a:pt x="215" y="107"/>
                </a:cubicBezTo>
                <a:cubicBezTo>
                  <a:pt x="215" y="102"/>
                  <a:pt x="214" y="98"/>
                  <a:pt x="213" y="95"/>
                </a:cubicBezTo>
                <a:cubicBezTo>
                  <a:pt x="227" y="96"/>
                  <a:pt x="242" y="96"/>
                  <a:pt x="258" y="96"/>
                </a:cubicBezTo>
                <a:cubicBezTo>
                  <a:pt x="281" y="98"/>
                  <a:pt x="291" y="91"/>
                  <a:pt x="291" y="75"/>
                </a:cubicBezTo>
                <a:lnTo>
                  <a:pt x="292" y="49"/>
                </a:lnTo>
                <a:lnTo>
                  <a:pt x="176" y="49"/>
                </a:lnTo>
                <a:lnTo>
                  <a:pt x="176" y="147"/>
                </a:lnTo>
                <a:lnTo>
                  <a:pt x="320" y="147"/>
                </a:lnTo>
                <a:lnTo>
                  <a:pt x="320" y="167"/>
                </a:lnTo>
                <a:cubicBezTo>
                  <a:pt x="310" y="210"/>
                  <a:pt x="293" y="246"/>
                  <a:pt x="269" y="273"/>
                </a:cubicBezTo>
                <a:cubicBezTo>
                  <a:pt x="286" y="289"/>
                  <a:pt x="311" y="303"/>
                  <a:pt x="343" y="314"/>
                </a:cubicBezTo>
                <a:cubicBezTo>
                  <a:pt x="335" y="324"/>
                  <a:pt x="329" y="332"/>
                  <a:pt x="323" y="338"/>
                </a:cubicBezTo>
                <a:cubicBezTo>
                  <a:pt x="295" y="324"/>
                  <a:pt x="271" y="308"/>
                  <a:pt x="252" y="291"/>
                </a:cubicBezTo>
                <a:cubicBezTo>
                  <a:pt x="235" y="307"/>
                  <a:pt x="215" y="321"/>
                  <a:pt x="190" y="335"/>
                </a:cubicBezTo>
                <a:cubicBezTo>
                  <a:pt x="185" y="328"/>
                  <a:pt x="181" y="320"/>
                  <a:pt x="176" y="313"/>
                </a:cubicBezTo>
                <a:cubicBezTo>
                  <a:pt x="203" y="300"/>
                  <a:pt x="223" y="287"/>
                  <a:pt x="235" y="273"/>
                </a:cubicBezTo>
                <a:cubicBezTo>
                  <a:pt x="214" y="245"/>
                  <a:pt x="199" y="210"/>
                  <a:pt x="191" y="170"/>
                </a:cubicBezTo>
                <a:lnTo>
                  <a:pt x="176" y="170"/>
                </a:lnTo>
                <a:lnTo>
                  <a:pt x="176" y="338"/>
                </a:lnTo>
                <a:lnTo>
                  <a:pt x="149" y="338"/>
                </a:lnTo>
                <a:lnTo>
                  <a:pt x="149" y="25"/>
                </a:lnTo>
                <a:close/>
                <a:moveTo>
                  <a:pt x="24" y="23"/>
                </a:moveTo>
                <a:lnTo>
                  <a:pt x="121" y="23"/>
                </a:lnTo>
                <a:lnTo>
                  <a:pt x="121" y="300"/>
                </a:lnTo>
                <a:cubicBezTo>
                  <a:pt x="122" y="323"/>
                  <a:pt x="111" y="334"/>
                  <a:pt x="88" y="334"/>
                </a:cubicBezTo>
                <a:cubicBezTo>
                  <a:pt x="80" y="334"/>
                  <a:pt x="69" y="334"/>
                  <a:pt x="57" y="334"/>
                </a:cubicBezTo>
                <a:cubicBezTo>
                  <a:pt x="56" y="326"/>
                  <a:pt x="55" y="318"/>
                  <a:pt x="53" y="310"/>
                </a:cubicBezTo>
                <a:cubicBezTo>
                  <a:pt x="57" y="310"/>
                  <a:pt x="67" y="310"/>
                  <a:pt x="81" y="310"/>
                </a:cubicBezTo>
                <a:cubicBezTo>
                  <a:pt x="92" y="311"/>
                  <a:pt x="97" y="307"/>
                  <a:pt x="97" y="297"/>
                </a:cubicBezTo>
                <a:lnTo>
                  <a:pt x="97" y="221"/>
                </a:lnTo>
                <a:lnTo>
                  <a:pt x="48" y="221"/>
                </a:lnTo>
                <a:cubicBezTo>
                  <a:pt x="49" y="273"/>
                  <a:pt x="40" y="312"/>
                  <a:pt x="20" y="338"/>
                </a:cubicBezTo>
                <a:cubicBezTo>
                  <a:pt x="14" y="332"/>
                  <a:pt x="8" y="326"/>
                  <a:pt x="0" y="320"/>
                </a:cubicBezTo>
                <a:cubicBezTo>
                  <a:pt x="18" y="299"/>
                  <a:pt x="26" y="264"/>
                  <a:pt x="24" y="215"/>
                </a:cubicBezTo>
                <a:lnTo>
                  <a:pt x="24" y="23"/>
                </a:lnTo>
                <a:close/>
                <a:moveTo>
                  <a:pt x="293" y="170"/>
                </a:moveTo>
                <a:lnTo>
                  <a:pt x="214" y="170"/>
                </a:lnTo>
                <a:cubicBezTo>
                  <a:pt x="222" y="202"/>
                  <a:pt x="234" y="230"/>
                  <a:pt x="252" y="255"/>
                </a:cubicBezTo>
                <a:cubicBezTo>
                  <a:pt x="272" y="229"/>
                  <a:pt x="286" y="201"/>
                  <a:pt x="293" y="170"/>
                </a:cubicBezTo>
                <a:close/>
                <a:moveTo>
                  <a:pt x="48" y="133"/>
                </a:moveTo>
                <a:lnTo>
                  <a:pt x="48" y="199"/>
                </a:lnTo>
                <a:lnTo>
                  <a:pt x="97" y="199"/>
                </a:lnTo>
                <a:lnTo>
                  <a:pt x="97" y="133"/>
                </a:lnTo>
                <a:lnTo>
                  <a:pt x="48" y="133"/>
                </a:lnTo>
                <a:close/>
                <a:moveTo>
                  <a:pt x="48" y="45"/>
                </a:moveTo>
                <a:lnTo>
                  <a:pt x="48" y="110"/>
                </a:lnTo>
                <a:lnTo>
                  <a:pt x="97" y="110"/>
                </a:lnTo>
                <a:lnTo>
                  <a:pt x="97" y="45"/>
                </a:lnTo>
                <a:lnTo>
                  <a:pt x="48" y="45"/>
                </a:lnTo>
                <a:close/>
                <a:moveTo>
                  <a:pt x="467" y="0"/>
                </a:moveTo>
                <a:lnTo>
                  <a:pt x="493" y="11"/>
                </a:lnTo>
                <a:cubicBezTo>
                  <a:pt x="490" y="14"/>
                  <a:pt x="486" y="19"/>
                  <a:pt x="482" y="25"/>
                </a:cubicBezTo>
                <a:cubicBezTo>
                  <a:pt x="479" y="30"/>
                  <a:pt x="476" y="33"/>
                  <a:pt x="474" y="35"/>
                </a:cubicBezTo>
                <a:lnTo>
                  <a:pt x="657" y="35"/>
                </a:lnTo>
                <a:lnTo>
                  <a:pt x="657" y="59"/>
                </a:lnTo>
                <a:cubicBezTo>
                  <a:pt x="631" y="87"/>
                  <a:pt x="601" y="109"/>
                  <a:pt x="568" y="126"/>
                </a:cubicBezTo>
                <a:cubicBezTo>
                  <a:pt x="608" y="141"/>
                  <a:pt x="653" y="150"/>
                  <a:pt x="705" y="153"/>
                </a:cubicBezTo>
                <a:cubicBezTo>
                  <a:pt x="699" y="163"/>
                  <a:pt x="692" y="173"/>
                  <a:pt x="687" y="181"/>
                </a:cubicBezTo>
                <a:cubicBezTo>
                  <a:pt x="627" y="173"/>
                  <a:pt x="578" y="159"/>
                  <a:pt x="538" y="141"/>
                </a:cubicBezTo>
                <a:cubicBezTo>
                  <a:pt x="495" y="158"/>
                  <a:pt x="440" y="174"/>
                  <a:pt x="373" y="187"/>
                </a:cubicBezTo>
                <a:cubicBezTo>
                  <a:pt x="369" y="178"/>
                  <a:pt x="364" y="170"/>
                  <a:pt x="358" y="163"/>
                </a:cubicBezTo>
                <a:cubicBezTo>
                  <a:pt x="415" y="154"/>
                  <a:pt x="465" y="142"/>
                  <a:pt x="508" y="126"/>
                </a:cubicBezTo>
                <a:cubicBezTo>
                  <a:pt x="484" y="111"/>
                  <a:pt x="463" y="92"/>
                  <a:pt x="446" y="69"/>
                </a:cubicBezTo>
                <a:cubicBezTo>
                  <a:pt x="424" y="94"/>
                  <a:pt x="404" y="113"/>
                  <a:pt x="387" y="127"/>
                </a:cubicBezTo>
                <a:cubicBezTo>
                  <a:pt x="380" y="121"/>
                  <a:pt x="374" y="115"/>
                  <a:pt x="368" y="109"/>
                </a:cubicBezTo>
                <a:cubicBezTo>
                  <a:pt x="407" y="79"/>
                  <a:pt x="440" y="42"/>
                  <a:pt x="467" y="0"/>
                </a:cubicBezTo>
                <a:close/>
                <a:moveTo>
                  <a:pt x="390" y="201"/>
                </a:moveTo>
                <a:lnTo>
                  <a:pt x="490" y="201"/>
                </a:lnTo>
                <a:cubicBezTo>
                  <a:pt x="490" y="200"/>
                  <a:pt x="490" y="199"/>
                  <a:pt x="490" y="198"/>
                </a:cubicBezTo>
                <a:cubicBezTo>
                  <a:pt x="492" y="188"/>
                  <a:pt x="493" y="176"/>
                  <a:pt x="493" y="164"/>
                </a:cubicBezTo>
                <a:lnTo>
                  <a:pt x="521" y="164"/>
                </a:lnTo>
                <a:cubicBezTo>
                  <a:pt x="520" y="177"/>
                  <a:pt x="519" y="190"/>
                  <a:pt x="517" y="201"/>
                </a:cubicBezTo>
                <a:lnTo>
                  <a:pt x="654" y="201"/>
                </a:lnTo>
                <a:cubicBezTo>
                  <a:pt x="654" y="210"/>
                  <a:pt x="653" y="225"/>
                  <a:pt x="651" y="246"/>
                </a:cubicBezTo>
                <a:cubicBezTo>
                  <a:pt x="650" y="257"/>
                  <a:pt x="650" y="264"/>
                  <a:pt x="650" y="269"/>
                </a:cubicBezTo>
                <a:cubicBezTo>
                  <a:pt x="651" y="314"/>
                  <a:pt x="629" y="335"/>
                  <a:pt x="583" y="332"/>
                </a:cubicBezTo>
                <a:cubicBezTo>
                  <a:pt x="563" y="332"/>
                  <a:pt x="545" y="332"/>
                  <a:pt x="530" y="332"/>
                </a:cubicBezTo>
                <a:cubicBezTo>
                  <a:pt x="530" y="331"/>
                  <a:pt x="529" y="328"/>
                  <a:pt x="528" y="324"/>
                </a:cubicBezTo>
                <a:cubicBezTo>
                  <a:pt x="527" y="314"/>
                  <a:pt x="526" y="307"/>
                  <a:pt x="525" y="304"/>
                </a:cubicBezTo>
                <a:cubicBezTo>
                  <a:pt x="531" y="305"/>
                  <a:pt x="541" y="306"/>
                  <a:pt x="554" y="306"/>
                </a:cubicBezTo>
                <a:cubicBezTo>
                  <a:pt x="565" y="307"/>
                  <a:pt x="574" y="307"/>
                  <a:pt x="582" y="307"/>
                </a:cubicBezTo>
                <a:cubicBezTo>
                  <a:pt x="609" y="310"/>
                  <a:pt x="624" y="297"/>
                  <a:pt x="624" y="267"/>
                </a:cubicBezTo>
                <a:cubicBezTo>
                  <a:pt x="624" y="264"/>
                  <a:pt x="625" y="257"/>
                  <a:pt x="626" y="246"/>
                </a:cubicBezTo>
                <a:cubicBezTo>
                  <a:pt x="626" y="235"/>
                  <a:pt x="626" y="228"/>
                  <a:pt x="626" y="225"/>
                </a:cubicBezTo>
                <a:lnTo>
                  <a:pt x="513" y="225"/>
                </a:lnTo>
                <a:cubicBezTo>
                  <a:pt x="501" y="278"/>
                  <a:pt x="459" y="317"/>
                  <a:pt x="385" y="342"/>
                </a:cubicBezTo>
                <a:cubicBezTo>
                  <a:pt x="380" y="335"/>
                  <a:pt x="374" y="327"/>
                  <a:pt x="368" y="320"/>
                </a:cubicBezTo>
                <a:cubicBezTo>
                  <a:pt x="435" y="299"/>
                  <a:pt x="474" y="267"/>
                  <a:pt x="484" y="225"/>
                </a:cubicBezTo>
                <a:lnTo>
                  <a:pt x="390" y="225"/>
                </a:lnTo>
                <a:lnTo>
                  <a:pt x="390" y="201"/>
                </a:lnTo>
                <a:close/>
                <a:moveTo>
                  <a:pt x="619" y="59"/>
                </a:moveTo>
                <a:lnTo>
                  <a:pt x="467" y="59"/>
                </a:lnTo>
                <a:cubicBezTo>
                  <a:pt x="486" y="81"/>
                  <a:pt x="510" y="99"/>
                  <a:pt x="538" y="113"/>
                </a:cubicBezTo>
                <a:cubicBezTo>
                  <a:pt x="569" y="98"/>
                  <a:pt x="596" y="80"/>
                  <a:pt x="619" y="59"/>
                </a:cubicBezTo>
                <a:close/>
              </a:path>
            </a:pathLst>
          </a:custGeom>
          <a:solidFill>
            <a:schemeClr val="tx1"/>
          </a:solidFill>
          <a:ln w="9525">
            <a:noFill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endParaRPr lang="zh-CN" altLang="en-US" sz="1799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14" name="组合 13"/>
          <p:cNvGrpSpPr/>
          <p:nvPr/>
        </p:nvGrpSpPr>
        <p:grpSpPr>
          <a:xfrm>
            <a:off x="9754714" y="737425"/>
            <a:ext cx="419932" cy="437802"/>
            <a:chOff x="9338428" y="391614"/>
            <a:chExt cx="420096" cy="437973"/>
          </a:xfrm>
          <a:solidFill>
            <a:schemeClr val="accent1"/>
          </a:solidFill>
        </p:grpSpPr>
        <p:sp>
          <p:nvSpPr>
            <p:cNvPr id="15" name="Oval 12"/>
            <p:cNvSpPr>
              <a:spLocks noChangeArrowheads="1"/>
            </p:cNvSpPr>
            <p:nvPr/>
          </p:nvSpPr>
          <p:spPr bwMode="auto">
            <a:xfrm>
              <a:off x="9338428" y="391614"/>
              <a:ext cx="420096" cy="437973"/>
            </a:xfrm>
            <a:prstGeom prst="ellipse">
              <a:avLst/>
            </a:prstGeom>
            <a:solidFill>
              <a:srgbClr val="2E2E2E"/>
            </a:solidFill>
            <a:ln>
              <a:noFill/>
            </a:ln>
          </p:spPr>
          <p:txBody>
            <a:bodyPr vert="horz" wrap="square" lIns="91404" tIns="45702" rIns="91404" bIns="45702" numCol="1" anchor="t" anchorCtr="0" compatLnSpc="1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None/>
                <a:defRPr/>
              </a:pPr>
              <a:endParaRPr lang="zh-CN" altLang="en-US" sz="1799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6" name="Freeform 19"/>
            <p:cNvSpPr>
              <a:spLocks noEditPoints="1"/>
            </p:cNvSpPr>
            <p:nvPr/>
          </p:nvSpPr>
          <p:spPr bwMode="auto">
            <a:xfrm>
              <a:off x="9398442" y="495042"/>
              <a:ext cx="315391" cy="277085"/>
            </a:xfrm>
            <a:custGeom>
              <a:avLst/>
              <a:gdLst>
                <a:gd name="T0" fmla="*/ 224 w 428"/>
                <a:gd name="T1" fmla="*/ 352 h 361"/>
                <a:gd name="T2" fmla="*/ 417 w 428"/>
                <a:gd name="T3" fmla="*/ 105 h 361"/>
                <a:gd name="T4" fmla="*/ 405 w 428"/>
                <a:gd name="T5" fmla="*/ 100 h 361"/>
                <a:gd name="T6" fmla="*/ 288 w 428"/>
                <a:gd name="T7" fmla="*/ 101 h 361"/>
                <a:gd name="T8" fmla="*/ 224 w 428"/>
                <a:gd name="T9" fmla="*/ 352 h 361"/>
                <a:gd name="T10" fmla="*/ 421 w 428"/>
                <a:gd name="T11" fmla="*/ 105 h 361"/>
                <a:gd name="T12" fmla="*/ 421 w 428"/>
                <a:gd name="T13" fmla="*/ 105 h 361"/>
                <a:gd name="T14" fmla="*/ 7 w 428"/>
                <a:gd name="T15" fmla="*/ 103 h 361"/>
                <a:gd name="T16" fmla="*/ 199 w 428"/>
                <a:gd name="T17" fmla="*/ 348 h 361"/>
                <a:gd name="T18" fmla="*/ 137 w 428"/>
                <a:gd name="T19" fmla="*/ 100 h 361"/>
                <a:gd name="T20" fmla="*/ 23 w 428"/>
                <a:gd name="T21" fmla="*/ 101 h 361"/>
                <a:gd name="T22" fmla="*/ 7 w 428"/>
                <a:gd name="T23" fmla="*/ 103 h 361"/>
                <a:gd name="T24" fmla="*/ 198 w 428"/>
                <a:gd name="T25" fmla="*/ 353 h 361"/>
                <a:gd name="T26" fmla="*/ 198 w 428"/>
                <a:gd name="T27" fmla="*/ 353 h 361"/>
                <a:gd name="T28" fmla="*/ 212 w 428"/>
                <a:gd name="T29" fmla="*/ 354 h 361"/>
                <a:gd name="T30" fmla="*/ 278 w 428"/>
                <a:gd name="T31" fmla="*/ 101 h 361"/>
                <a:gd name="T32" fmla="*/ 275 w 428"/>
                <a:gd name="T33" fmla="*/ 105 h 361"/>
                <a:gd name="T34" fmla="*/ 147 w 428"/>
                <a:gd name="T35" fmla="*/ 101 h 361"/>
                <a:gd name="T36" fmla="*/ 212 w 428"/>
                <a:gd name="T37" fmla="*/ 354 h 361"/>
                <a:gd name="T38" fmla="*/ 299 w 428"/>
                <a:gd name="T39" fmla="*/ 91 h 361"/>
                <a:gd name="T40" fmla="*/ 426 w 428"/>
                <a:gd name="T41" fmla="*/ 91 h 361"/>
                <a:gd name="T42" fmla="*/ 352 w 428"/>
                <a:gd name="T43" fmla="*/ 1 h 361"/>
                <a:gd name="T44" fmla="*/ 299 w 428"/>
                <a:gd name="T45" fmla="*/ 91 h 361"/>
                <a:gd name="T46" fmla="*/ 0 w 428"/>
                <a:gd name="T47" fmla="*/ 89 h 361"/>
                <a:gd name="T48" fmla="*/ 125 w 428"/>
                <a:gd name="T49" fmla="*/ 91 h 361"/>
                <a:gd name="T50" fmla="*/ 74 w 428"/>
                <a:gd name="T51" fmla="*/ 0 h 361"/>
                <a:gd name="T52" fmla="*/ 0 w 428"/>
                <a:gd name="T53" fmla="*/ 89 h 361"/>
                <a:gd name="T54" fmla="*/ 148 w 428"/>
                <a:gd name="T55" fmla="*/ 91 h 361"/>
                <a:gd name="T56" fmla="*/ 276 w 428"/>
                <a:gd name="T57" fmla="*/ 90 h 361"/>
                <a:gd name="T58" fmla="*/ 211 w 428"/>
                <a:gd name="T59" fmla="*/ 2 h 361"/>
                <a:gd name="T60" fmla="*/ 148 w 428"/>
                <a:gd name="T61" fmla="*/ 91 h 361"/>
                <a:gd name="T62" fmla="*/ 138 w 428"/>
                <a:gd name="T63" fmla="*/ 93 h 361"/>
                <a:gd name="T64" fmla="*/ 202 w 428"/>
                <a:gd name="T65" fmla="*/ 1 h 361"/>
                <a:gd name="T66" fmla="*/ 83 w 428"/>
                <a:gd name="T67" fmla="*/ 2 h 361"/>
                <a:gd name="T68" fmla="*/ 138 w 428"/>
                <a:gd name="T69" fmla="*/ 93 h 361"/>
                <a:gd name="T70" fmla="*/ 289 w 428"/>
                <a:gd name="T71" fmla="*/ 93 h 361"/>
                <a:gd name="T72" fmla="*/ 340 w 428"/>
                <a:gd name="T73" fmla="*/ 1 h 361"/>
                <a:gd name="T74" fmla="*/ 225 w 428"/>
                <a:gd name="T75" fmla="*/ 3 h 361"/>
                <a:gd name="T76" fmla="*/ 289 w 428"/>
                <a:gd name="T77" fmla="*/ 93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8" h="361">
                  <a:moveTo>
                    <a:pt x="224" y="352"/>
                  </a:moveTo>
                  <a:lnTo>
                    <a:pt x="417" y="105"/>
                  </a:lnTo>
                  <a:cubicBezTo>
                    <a:pt x="412" y="102"/>
                    <a:pt x="413" y="100"/>
                    <a:pt x="405" y="100"/>
                  </a:cubicBezTo>
                  <a:lnTo>
                    <a:pt x="288" y="101"/>
                  </a:lnTo>
                  <a:lnTo>
                    <a:pt x="224" y="352"/>
                  </a:lnTo>
                  <a:close/>
                  <a:moveTo>
                    <a:pt x="421" y="105"/>
                  </a:moveTo>
                  <a:cubicBezTo>
                    <a:pt x="428" y="97"/>
                    <a:pt x="414" y="113"/>
                    <a:pt x="421" y="105"/>
                  </a:cubicBezTo>
                  <a:close/>
                  <a:moveTo>
                    <a:pt x="7" y="103"/>
                  </a:moveTo>
                  <a:lnTo>
                    <a:pt x="199" y="348"/>
                  </a:lnTo>
                  <a:lnTo>
                    <a:pt x="137" y="100"/>
                  </a:lnTo>
                  <a:lnTo>
                    <a:pt x="23" y="101"/>
                  </a:lnTo>
                  <a:lnTo>
                    <a:pt x="7" y="103"/>
                  </a:lnTo>
                  <a:close/>
                  <a:moveTo>
                    <a:pt x="198" y="353"/>
                  </a:moveTo>
                  <a:cubicBezTo>
                    <a:pt x="205" y="361"/>
                    <a:pt x="191" y="345"/>
                    <a:pt x="198" y="353"/>
                  </a:cubicBezTo>
                  <a:close/>
                  <a:moveTo>
                    <a:pt x="212" y="354"/>
                  </a:moveTo>
                  <a:lnTo>
                    <a:pt x="278" y="101"/>
                  </a:lnTo>
                  <a:lnTo>
                    <a:pt x="275" y="105"/>
                  </a:lnTo>
                  <a:lnTo>
                    <a:pt x="147" y="101"/>
                  </a:lnTo>
                  <a:lnTo>
                    <a:pt x="212" y="354"/>
                  </a:lnTo>
                  <a:close/>
                  <a:moveTo>
                    <a:pt x="299" y="91"/>
                  </a:moveTo>
                  <a:lnTo>
                    <a:pt x="426" y="91"/>
                  </a:lnTo>
                  <a:lnTo>
                    <a:pt x="352" y="1"/>
                  </a:lnTo>
                  <a:lnTo>
                    <a:pt x="299" y="91"/>
                  </a:lnTo>
                  <a:close/>
                  <a:moveTo>
                    <a:pt x="0" y="89"/>
                  </a:moveTo>
                  <a:lnTo>
                    <a:pt x="125" y="91"/>
                  </a:lnTo>
                  <a:lnTo>
                    <a:pt x="74" y="0"/>
                  </a:lnTo>
                  <a:lnTo>
                    <a:pt x="0" y="89"/>
                  </a:lnTo>
                  <a:close/>
                  <a:moveTo>
                    <a:pt x="148" y="91"/>
                  </a:moveTo>
                  <a:lnTo>
                    <a:pt x="276" y="90"/>
                  </a:lnTo>
                  <a:lnTo>
                    <a:pt x="211" y="2"/>
                  </a:lnTo>
                  <a:lnTo>
                    <a:pt x="148" y="91"/>
                  </a:lnTo>
                  <a:close/>
                  <a:moveTo>
                    <a:pt x="138" y="93"/>
                  </a:moveTo>
                  <a:lnTo>
                    <a:pt x="202" y="1"/>
                  </a:lnTo>
                  <a:lnTo>
                    <a:pt x="83" y="2"/>
                  </a:lnTo>
                  <a:lnTo>
                    <a:pt x="138" y="93"/>
                  </a:lnTo>
                  <a:close/>
                  <a:moveTo>
                    <a:pt x="289" y="93"/>
                  </a:moveTo>
                  <a:lnTo>
                    <a:pt x="340" y="1"/>
                  </a:lnTo>
                  <a:lnTo>
                    <a:pt x="225" y="3"/>
                  </a:lnTo>
                  <a:lnTo>
                    <a:pt x="289" y="93"/>
                  </a:lnTo>
                  <a:close/>
                </a:path>
              </a:pathLst>
            </a:custGeom>
            <a:solidFill>
              <a:srgbClr val="F8F8F8"/>
            </a:solidFill>
            <a:ln>
              <a:noFill/>
            </a:ln>
          </p:spPr>
          <p:txBody>
            <a:bodyPr vert="horz" wrap="square" lIns="91404" tIns="45702" rIns="91404" bIns="45702" numCol="1" anchor="t" anchorCtr="0" compatLnSpc="1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None/>
                <a:defRPr/>
              </a:pPr>
              <a:endParaRPr lang="zh-CN" altLang="en-US" sz="1799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18" name="圆角矩形 17" descr="e7d195523061f1c0deeec63e560781cfd59afb0ea006f2a87ABB68BF51EA6619813959095094C18C62A12F549504892A4AAA8C1554C6663626E05CA27F281A14E6983772AFC3FB97135759321DEA3D704CB8FFD9D2544D20427D00997056F5C96BEB36E87B176A9A2B0208D5F0253CAA64F289E16775627845AD05F6A8DA43D217D906D92F737DD9"/>
          <p:cNvSpPr/>
          <p:nvPr/>
        </p:nvSpPr>
        <p:spPr>
          <a:xfrm>
            <a:off x="0" y="2000099"/>
            <a:ext cx="6776358" cy="2134905"/>
          </a:xfrm>
          <a:prstGeom prst="roundRect">
            <a:avLst>
              <a:gd name="adj" fmla="val 0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9" name="矩形 18"/>
          <p:cNvSpPr/>
          <p:nvPr/>
        </p:nvSpPr>
        <p:spPr>
          <a:xfrm flipH="1">
            <a:off x="6873343" y="3558542"/>
            <a:ext cx="5318657" cy="581966"/>
          </a:xfrm>
          <a:prstGeom prst="rect">
            <a:avLst/>
          </a:pr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6873343" y="2039855"/>
            <a:ext cx="2605287" cy="1461246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2" name="矩形 21"/>
          <p:cNvSpPr/>
          <p:nvPr/>
        </p:nvSpPr>
        <p:spPr>
          <a:xfrm>
            <a:off x="417441" y="2496399"/>
            <a:ext cx="6178640" cy="1231106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t" anchorCtr="0" compatLnSpc="1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kumimoji="1" lang="zh-CN" altLang="en-US" sz="40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       设计协同办公平台</a:t>
            </a:r>
            <a:endParaRPr kumimoji="1" lang="en-US" altLang="zh-CN" sz="4000" b="1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zh-CN" sz="40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            </a:t>
            </a:r>
            <a:r>
              <a:rPr kumimoji="1" lang="zh-CN" altLang="en-US" sz="40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项目启动会</a:t>
            </a:r>
            <a:endParaRPr lang="zh-CN" altLang="en-US" sz="4800" b="1" dirty="0">
              <a:solidFill>
                <a:srgbClr val="2E2E2E"/>
              </a:solidFill>
              <a:latin typeface="微软雅黑"/>
            </a:endParaRPr>
          </a:p>
        </p:txBody>
      </p:sp>
      <p:sp>
        <p:nvSpPr>
          <p:cNvPr id="25" name="Freeform 10"/>
          <p:cNvSpPr>
            <a:spLocks noChangeAspect="1" noEditPoints="1"/>
          </p:cNvSpPr>
          <p:nvPr/>
        </p:nvSpPr>
        <p:spPr>
          <a:xfrm>
            <a:off x="6596080" y="5130475"/>
            <a:ext cx="372916" cy="374504"/>
          </a:xfrm>
          <a:custGeom>
            <a:avLst/>
            <a:gdLst/>
            <a:ahLst/>
            <a:cxnLst>
              <a:cxn ang="0">
                <a:pos x="186418" y="0"/>
              </a:cxn>
              <a:cxn ang="0">
                <a:pos x="372836" y="187200"/>
              </a:cxn>
              <a:cxn ang="0">
                <a:pos x="186418" y="374400"/>
              </a:cxn>
              <a:cxn ang="0">
                <a:pos x="0" y="187200"/>
              </a:cxn>
              <a:cxn ang="0">
                <a:pos x="186418" y="0"/>
              </a:cxn>
              <a:cxn ang="0">
                <a:pos x="331748" y="191020"/>
              </a:cxn>
              <a:cxn ang="0">
                <a:pos x="324900" y="195605"/>
              </a:cxn>
              <a:cxn ang="0">
                <a:pos x="299791" y="195605"/>
              </a:cxn>
              <a:cxn ang="0">
                <a:pos x="293703" y="193313"/>
              </a:cxn>
              <a:cxn ang="0">
                <a:pos x="186418" y="80229"/>
              </a:cxn>
              <a:cxn ang="0">
                <a:pos x="79133" y="193313"/>
              </a:cxn>
              <a:cxn ang="0">
                <a:pos x="73045" y="195605"/>
              </a:cxn>
              <a:cxn ang="0">
                <a:pos x="47936" y="195605"/>
              </a:cxn>
              <a:cxn ang="0">
                <a:pos x="41088" y="191020"/>
              </a:cxn>
              <a:cxn ang="0">
                <a:pos x="42610" y="182616"/>
              </a:cxn>
              <a:cxn ang="0">
                <a:pos x="179570" y="39732"/>
              </a:cxn>
              <a:cxn ang="0">
                <a:pos x="186418" y="36676"/>
              </a:cxn>
              <a:cxn ang="0">
                <a:pos x="193266" y="39732"/>
              </a:cxn>
              <a:cxn ang="0">
                <a:pos x="330226" y="182616"/>
              </a:cxn>
              <a:cxn ang="0">
                <a:pos x="331748" y="191020"/>
              </a:cxn>
              <a:cxn ang="0">
                <a:pos x="85981" y="204010"/>
              </a:cxn>
              <a:cxn ang="0">
                <a:pos x="85981" y="204010"/>
              </a:cxn>
              <a:cxn ang="0">
                <a:pos x="85981" y="289587"/>
              </a:cxn>
              <a:cxn ang="0">
                <a:pos x="98155" y="304104"/>
              </a:cxn>
              <a:cxn ang="0">
                <a:pos x="153700" y="304104"/>
              </a:cxn>
              <a:cxn ang="0">
                <a:pos x="153700" y="210887"/>
              </a:cxn>
              <a:cxn ang="0">
                <a:pos x="168157" y="196369"/>
              </a:cxn>
              <a:cxn ang="0">
                <a:pos x="204679" y="196369"/>
              </a:cxn>
              <a:cxn ang="0">
                <a:pos x="219136" y="210887"/>
              </a:cxn>
              <a:cxn ang="0">
                <a:pos x="219136" y="304104"/>
              </a:cxn>
              <a:cxn ang="0">
                <a:pos x="274681" y="304104"/>
              </a:cxn>
              <a:cxn ang="0">
                <a:pos x="286855" y="289587"/>
              </a:cxn>
              <a:cxn ang="0">
                <a:pos x="286855" y="204774"/>
              </a:cxn>
              <a:cxn ang="0">
                <a:pos x="186418" y="99331"/>
              </a:cxn>
              <a:cxn ang="0">
                <a:pos x="85981" y="204010"/>
              </a:cxn>
            </a:cxnLst>
            <a:rect l="0" t="0" r="0" b="0"/>
            <a:pathLst>
              <a:path w="490" h="490">
                <a:moveTo>
                  <a:pt x="245" y="0"/>
                </a:moveTo>
                <a:cubicBezTo>
                  <a:pt x="380" y="0"/>
                  <a:pt x="490" y="110"/>
                  <a:pt x="490" y="245"/>
                </a:cubicBezTo>
                <a:cubicBezTo>
                  <a:pt x="490" y="381"/>
                  <a:pt x="380" y="490"/>
                  <a:pt x="245" y="490"/>
                </a:cubicBezTo>
                <a:cubicBezTo>
                  <a:pt x="110" y="490"/>
                  <a:pt x="0" y="381"/>
                  <a:pt x="0" y="245"/>
                </a:cubicBezTo>
                <a:cubicBezTo>
                  <a:pt x="0" y="110"/>
                  <a:pt x="110" y="0"/>
                  <a:pt x="245" y="0"/>
                </a:cubicBezTo>
                <a:close/>
                <a:moveTo>
                  <a:pt x="436" y="250"/>
                </a:moveTo>
                <a:cubicBezTo>
                  <a:pt x="435" y="254"/>
                  <a:pt x="431" y="256"/>
                  <a:pt x="427" y="256"/>
                </a:cubicBezTo>
                <a:lnTo>
                  <a:pt x="394" y="256"/>
                </a:lnTo>
                <a:cubicBezTo>
                  <a:pt x="391" y="256"/>
                  <a:pt x="388" y="255"/>
                  <a:pt x="386" y="253"/>
                </a:cubicBezTo>
                <a:lnTo>
                  <a:pt x="245" y="105"/>
                </a:lnTo>
                <a:lnTo>
                  <a:pt x="104" y="253"/>
                </a:lnTo>
                <a:cubicBezTo>
                  <a:pt x="102" y="255"/>
                  <a:pt x="99" y="256"/>
                  <a:pt x="96" y="256"/>
                </a:cubicBezTo>
                <a:lnTo>
                  <a:pt x="63" y="256"/>
                </a:lnTo>
                <a:cubicBezTo>
                  <a:pt x="59" y="256"/>
                  <a:pt x="55" y="254"/>
                  <a:pt x="54" y="250"/>
                </a:cubicBezTo>
                <a:cubicBezTo>
                  <a:pt x="52" y="246"/>
                  <a:pt x="53" y="242"/>
                  <a:pt x="56" y="239"/>
                </a:cubicBezTo>
                <a:lnTo>
                  <a:pt x="236" y="52"/>
                </a:lnTo>
                <a:cubicBezTo>
                  <a:pt x="238" y="49"/>
                  <a:pt x="242" y="48"/>
                  <a:pt x="245" y="48"/>
                </a:cubicBezTo>
                <a:cubicBezTo>
                  <a:pt x="248" y="48"/>
                  <a:pt x="252" y="49"/>
                  <a:pt x="254" y="52"/>
                </a:cubicBezTo>
                <a:lnTo>
                  <a:pt x="434" y="239"/>
                </a:lnTo>
                <a:cubicBezTo>
                  <a:pt x="437" y="242"/>
                  <a:pt x="438" y="246"/>
                  <a:pt x="436" y="250"/>
                </a:cubicBezTo>
                <a:close/>
                <a:moveTo>
                  <a:pt x="113" y="267"/>
                </a:moveTo>
                <a:lnTo>
                  <a:pt x="113" y="267"/>
                </a:lnTo>
                <a:lnTo>
                  <a:pt x="113" y="379"/>
                </a:lnTo>
                <a:cubicBezTo>
                  <a:pt x="113" y="389"/>
                  <a:pt x="120" y="398"/>
                  <a:pt x="129" y="398"/>
                </a:cubicBezTo>
                <a:lnTo>
                  <a:pt x="202" y="398"/>
                </a:lnTo>
                <a:lnTo>
                  <a:pt x="202" y="276"/>
                </a:lnTo>
                <a:cubicBezTo>
                  <a:pt x="202" y="266"/>
                  <a:pt x="211" y="257"/>
                  <a:pt x="221" y="257"/>
                </a:cubicBezTo>
                <a:lnTo>
                  <a:pt x="269" y="257"/>
                </a:lnTo>
                <a:cubicBezTo>
                  <a:pt x="279" y="257"/>
                  <a:pt x="288" y="266"/>
                  <a:pt x="288" y="276"/>
                </a:cubicBezTo>
                <a:lnTo>
                  <a:pt x="288" y="398"/>
                </a:lnTo>
                <a:lnTo>
                  <a:pt x="361" y="398"/>
                </a:lnTo>
                <a:cubicBezTo>
                  <a:pt x="370" y="398"/>
                  <a:pt x="377" y="389"/>
                  <a:pt x="377" y="379"/>
                </a:cubicBezTo>
                <a:lnTo>
                  <a:pt x="377" y="268"/>
                </a:lnTo>
                <a:lnTo>
                  <a:pt x="245" y="130"/>
                </a:lnTo>
                <a:lnTo>
                  <a:pt x="113" y="267"/>
                </a:lnTo>
                <a:close/>
              </a:path>
            </a:pathLst>
          </a:custGeom>
          <a:solidFill>
            <a:srgbClr val="FFC000"/>
          </a:solidFill>
          <a:ln w="9525">
            <a:noFill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endParaRPr lang="zh-CN" altLang="en-US" sz="2000">
              <a:solidFill>
                <a:srgbClr val="C00000"/>
              </a:solidFill>
              <a:ea typeface="宋体" panose="02010600030101010101" pitchFamily="2" charset="-122"/>
            </a:endParaRPr>
          </a:p>
        </p:txBody>
      </p:sp>
      <p:sp>
        <p:nvSpPr>
          <p:cNvPr id="26" name="Freeform 9"/>
          <p:cNvSpPr>
            <a:spLocks noEditPoints="1"/>
          </p:cNvSpPr>
          <p:nvPr/>
        </p:nvSpPr>
        <p:spPr>
          <a:xfrm>
            <a:off x="2605076" y="5146344"/>
            <a:ext cx="372917" cy="374504"/>
          </a:xfrm>
          <a:custGeom>
            <a:avLst/>
            <a:gdLst/>
            <a:ahLst/>
            <a:cxnLst>
              <a:cxn ang="0">
                <a:pos x="272602" y="191165"/>
              </a:cxn>
              <a:cxn ang="0">
                <a:pos x="272602" y="139933"/>
              </a:cxn>
              <a:cxn ang="0">
                <a:pos x="249759" y="139933"/>
              </a:cxn>
              <a:cxn ang="0">
                <a:pos x="249759" y="191165"/>
              </a:cxn>
              <a:cxn ang="0">
                <a:pos x="188080" y="252338"/>
              </a:cxn>
              <a:cxn ang="0">
                <a:pos x="187319" y="252338"/>
              </a:cxn>
              <a:cxn ang="0">
                <a:pos x="186558" y="252338"/>
              </a:cxn>
              <a:cxn ang="0">
                <a:pos x="186558" y="252338"/>
              </a:cxn>
              <a:cxn ang="0">
                <a:pos x="185035" y="252338"/>
              </a:cxn>
              <a:cxn ang="0">
                <a:pos x="123356" y="191165"/>
              </a:cxn>
              <a:cxn ang="0">
                <a:pos x="123356" y="139933"/>
              </a:cxn>
              <a:cxn ang="0">
                <a:pos x="100513" y="139933"/>
              </a:cxn>
              <a:cxn ang="0">
                <a:pos x="100513" y="191165"/>
              </a:cxn>
              <a:cxn ang="0">
                <a:pos x="172851" y="274513"/>
              </a:cxn>
              <a:cxn ang="0">
                <a:pos x="172851" y="311216"/>
              </a:cxn>
              <a:cxn ang="0">
                <a:pos x="121833" y="325745"/>
              </a:cxn>
              <a:cxn ang="0">
                <a:pos x="252043" y="325745"/>
              </a:cxn>
              <a:cxn ang="0">
                <a:pos x="200264" y="311216"/>
              </a:cxn>
              <a:cxn ang="0">
                <a:pos x="200264" y="275277"/>
              </a:cxn>
              <a:cxn ang="0">
                <a:pos x="272602" y="191165"/>
              </a:cxn>
              <a:cxn ang="0">
                <a:pos x="185796" y="230927"/>
              </a:cxn>
              <a:cxn ang="0">
                <a:pos x="186558" y="230927"/>
              </a:cxn>
              <a:cxn ang="0">
                <a:pos x="187319" y="230927"/>
              </a:cxn>
              <a:cxn ang="0">
                <a:pos x="228438" y="189635"/>
              </a:cxn>
              <a:cxn ang="0">
                <a:pos x="228438" y="90230"/>
              </a:cxn>
              <a:cxn ang="0">
                <a:pos x="187319" y="48938"/>
              </a:cxn>
              <a:cxn ang="0">
                <a:pos x="186558" y="48938"/>
              </a:cxn>
              <a:cxn ang="0">
                <a:pos x="185796" y="48938"/>
              </a:cxn>
              <a:cxn ang="0">
                <a:pos x="144677" y="90230"/>
              </a:cxn>
              <a:cxn ang="0">
                <a:pos x="144677" y="189635"/>
              </a:cxn>
              <a:cxn ang="0">
                <a:pos x="185796" y="230927"/>
              </a:cxn>
              <a:cxn ang="0">
                <a:pos x="186558" y="0"/>
              </a:cxn>
              <a:cxn ang="0">
                <a:pos x="373115" y="187342"/>
              </a:cxn>
              <a:cxn ang="0">
                <a:pos x="186558" y="374683"/>
              </a:cxn>
              <a:cxn ang="0">
                <a:pos x="0" y="187342"/>
              </a:cxn>
              <a:cxn ang="0">
                <a:pos x="186558" y="0"/>
              </a:cxn>
            </a:cxnLst>
            <a:rect l="0" t="0" r="0" b="0"/>
            <a:pathLst>
              <a:path w="490" h="490">
                <a:moveTo>
                  <a:pt x="358" y="250"/>
                </a:moveTo>
                <a:lnTo>
                  <a:pt x="358" y="183"/>
                </a:lnTo>
                <a:cubicBezTo>
                  <a:pt x="358" y="165"/>
                  <a:pt x="328" y="164"/>
                  <a:pt x="328" y="183"/>
                </a:cubicBezTo>
                <a:lnTo>
                  <a:pt x="328" y="250"/>
                </a:lnTo>
                <a:cubicBezTo>
                  <a:pt x="328" y="294"/>
                  <a:pt x="292" y="330"/>
                  <a:pt x="247" y="330"/>
                </a:cubicBezTo>
                <a:cubicBezTo>
                  <a:pt x="247" y="330"/>
                  <a:pt x="246" y="330"/>
                  <a:pt x="246" y="330"/>
                </a:cubicBezTo>
                <a:lnTo>
                  <a:pt x="245" y="330"/>
                </a:lnTo>
                <a:lnTo>
                  <a:pt x="245" y="330"/>
                </a:lnTo>
                <a:cubicBezTo>
                  <a:pt x="244" y="330"/>
                  <a:pt x="244" y="330"/>
                  <a:pt x="243" y="330"/>
                </a:cubicBezTo>
                <a:cubicBezTo>
                  <a:pt x="198" y="330"/>
                  <a:pt x="162" y="294"/>
                  <a:pt x="162" y="250"/>
                </a:cubicBezTo>
                <a:lnTo>
                  <a:pt x="162" y="183"/>
                </a:lnTo>
                <a:cubicBezTo>
                  <a:pt x="162" y="165"/>
                  <a:pt x="132" y="164"/>
                  <a:pt x="132" y="183"/>
                </a:cubicBezTo>
                <a:cubicBezTo>
                  <a:pt x="132" y="192"/>
                  <a:pt x="132" y="250"/>
                  <a:pt x="132" y="250"/>
                </a:cubicBezTo>
                <a:cubicBezTo>
                  <a:pt x="132" y="306"/>
                  <a:pt x="173" y="352"/>
                  <a:pt x="227" y="359"/>
                </a:cubicBezTo>
                <a:lnTo>
                  <a:pt x="227" y="407"/>
                </a:lnTo>
                <a:lnTo>
                  <a:pt x="160" y="426"/>
                </a:lnTo>
                <a:lnTo>
                  <a:pt x="331" y="426"/>
                </a:lnTo>
                <a:lnTo>
                  <a:pt x="263" y="407"/>
                </a:lnTo>
                <a:lnTo>
                  <a:pt x="263" y="360"/>
                </a:lnTo>
                <a:cubicBezTo>
                  <a:pt x="317" y="352"/>
                  <a:pt x="358" y="306"/>
                  <a:pt x="358" y="250"/>
                </a:cubicBezTo>
                <a:close/>
                <a:moveTo>
                  <a:pt x="244" y="302"/>
                </a:moveTo>
                <a:cubicBezTo>
                  <a:pt x="244" y="302"/>
                  <a:pt x="245" y="302"/>
                  <a:pt x="245" y="302"/>
                </a:cubicBezTo>
                <a:cubicBezTo>
                  <a:pt x="245" y="302"/>
                  <a:pt x="246" y="302"/>
                  <a:pt x="246" y="302"/>
                </a:cubicBezTo>
                <a:cubicBezTo>
                  <a:pt x="276" y="302"/>
                  <a:pt x="300" y="278"/>
                  <a:pt x="300" y="248"/>
                </a:cubicBezTo>
                <a:lnTo>
                  <a:pt x="300" y="118"/>
                </a:lnTo>
                <a:cubicBezTo>
                  <a:pt x="300" y="88"/>
                  <a:pt x="276" y="64"/>
                  <a:pt x="246" y="64"/>
                </a:cubicBezTo>
                <a:cubicBezTo>
                  <a:pt x="246" y="64"/>
                  <a:pt x="245" y="64"/>
                  <a:pt x="245" y="64"/>
                </a:cubicBezTo>
                <a:cubicBezTo>
                  <a:pt x="245" y="64"/>
                  <a:pt x="244" y="64"/>
                  <a:pt x="244" y="64"/>
                </a:cubicBezTo>
                <a:cubicBezTo>
                  <a:pt x="214" y="64"/>
                  <a:pt x="190" y="88"/>
                  <a:pt x="190" y="118"/>
                </a:cubicBezTo>
                <a:lnTo>
                  <a:pt x="190" y="248"/>
                </a:lnTo>
                <a:cubicBezTo>
                  <a:pt x="190" y="278"/>
                  <a:pt x="214" y="302"/>
                  <a:pt x="244" y="302"/>
                </a:cubicBezTo>
                <a:close/>
                <a:moveTo>
                  <a:pt x="245" y="0"/>
                </a:moveTo>
                <a:cubicBezTo>
                  <a:pt x="381" y="0"/>
                  <a:pt x="490" y="110"/>
                  <a:pt x="490" y="245"/>
                </a:cubicBezTo>
                <a:cubicBezTo>
                  <a:pt x="490" y="381"/>
                  <a:pt x="381" y="490"/>
                  <a:pt x="245" y="490"/>
                </a:cubicBezTo>
                <a:cubicBezTo>
                  <a:pt x="110" y="490"/>
                  <a:pt x="0" y="381"/>
                  <a:pt x="0" y="245"/>
                </a:cubicBezTo>
                <a:cubicBezTo>
                  <a:pt x="0" y="110"/>
                  <a:pt x="110" y="0"/>
                  <a:pt x="245" y="0"/>
                </a:cubicBezTo>
                <a:close/>
              </a:path>
            </a:pathLst>
          </a:custGeom>
          <a:solidFill>
            <a:srgbClr val="FFC000"/>
          </a:solidFill>
          <a:ln w="9525">
            <a:noFill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endParaRPr lang="zh-CN" altLang="en-US" sz="2000">
              <a:solidFill>
                <a:srgbClr val="C00000"/>
              </a:solidFill>
              <a:ea typeface="宋体" panose="02010600030101010101" pitchFamily="2" charset="-122"/>
            </a:endParaRPr>
          </a:p>
        </p:txBody>
      </p:sp>
      <p:sp>
        <p:nvSpPr>
          <p:cNvPr id="27" name="Rectangle 4"/>
          <p:cNvSpPr txBox="1"/>
          <p:nvPr/>
        </p:nvSpPr>
        <p:spPr>
          <a:xfrm>
            <a:off x="2954190" y="5159039"/>
            <a:ext cx="2988096" cy="349114"/>
          </a:xfrm>
          <a:prstGeom prst="rect">
            <a:avLst/>
          </a:prstGeom>
          <a:noFill/>
          <a:ln w="9525">
            <a:noFill/>
          </a:ln>
        </p:spPr>
        <p:txBody>
          <a:bodyPr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r>
              <a:rPr lang="zh-CN" altLang="en-US" sz="2000" b="1" dirty="0">
                <a:solidFill>
                  <a:srgbClr val="404040"/>
                </a:solidFill>
                <a:latin typeface="微软雅黑" pitchFamily="34" charset="-122"/>
                <a:ea typeface="微软雅黑" pitchFamily="34" charset="-122"/>
              </a:rPr>
              <a:t>汇报人：袁学忠</a:t>
            </a:r>
            <a:endParaRPr lang="en-US" altLang="zh-CN" sz="2000" b="1" dirty="0">
              <a:solidFill>
                <a:srgbClr val="40404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8" name="Rectangle 4"/>
          <p:cNvSpPr txBox="1"/>
          <p:nvPr/>
        </p:nvSpPr>
        <p:spPr>
          <a:xfrm>
            <a:off x="6943043" y="5152415"/>
            <a:ext cx="3298681" cy="349114"/>
          </a:xfrm>
          <a:prstGeom prst="rect">
            <a:avLst/>
          </a:prstGeom>
          <a:noFill/>
          <a:ln w="9525">
            <a:noFill/>
          </a:ln>
        </p:spPr>
        <p:txBody>
          <a:bodyPr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r>
              <a:rPr lang="zh-CN" altLang="en-US" sz="2000" b="1" dirty="0">
                <a:solidFill>
                  <a:srgbClr val="404040"/>
                </a:solidFill>
                <a:latin typeface="微软雅黑" pitchFamily="34" charset="-122"/>
                <a:ea typeface="微软雅黑" pitchFamily="34" charset="-122"/>
              </a:rPr>
              <a:t>上海图源信息科技有限公司</a:t>
            </a:r>
            <a:endParaRPr lang="en-US" altLang="zh-CN" sz="2000" b="1" dirty="0">
              <a:solidFill>
                <a:srgbClr val="40404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31" name="图片 30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9573648" y="2039855"/>
            <a:ext cx="2604645" cy="14612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738768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矩形 13">
            <a:extLst>
              <a:ext uri="{FF2B5EF4-FFF2-40B4-BE49-F238E27FC236}">
                <a16:creationId xmlns:a16="http://schemas.microsoft.com/office/drawing/2014/main" id="{EFD5A42D-FCC7-490F-BC97-8AB1A87DCECB}"/>
              </a:ext>
            </a:extLst>
          </p:cNvPr>
          <p:cNvSpPr/>
          <p:nvPr/>
        </p:nvSpPr>
        <p:spPr>
          <a:xfrm>
            <a:off x="0" y="267266"/>
            <a:ext cx="3087584" cy="5276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zh-CN" altLang="en-US" sz="2800" b="1" dirty="0">
                <a:solidFill>
                  <a:schemeClr val="tx1"/>
                </a:solidFill>
                <a:latin typeface="方正兰亭纤黑简体" panose="02000000000000000000" pitchFamily="2" charset="-122"/>
                <a:ea typeface="方正兰亭纤黑简体" panose="02000000000000000000" pitchFamily="2" charset="-122"/>
              </a:rPr>
              <a:t>项目沟通机制</a:t>
            </a:r>
          </a:p>
        </p:txBody>
      </p:sp>
      <p:graphicFrame>
        <p:nvGraphicFramePr>
          <p:cNvPr id="3" name="表格 2">
            <a:extLst>
              <a:ext uri="{FF2B5EF4-FFF2-40B4-BE49-F238E27FC236}">
                <a16:creationId xmlns:a16="http://schemas.microsoft.com/office/drawing/2014/main" id="{43D5E2A3-94AE-7F4A-8D3E-E28F9A47D8F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99975986"/>
              </p:ext>
            </p:extLst>
          </p:nvPr>
        </p:nvGraphicFramePr>
        <p:xfrm>
          <a:off x="832842" y="1148543"/>
          <a:ext cx="10288400" cy="4914528"/>
        </p:xfrm>
        <a:graphic>
          <a:graphicData uri="http://schemas.openxmlformats.org/drawingml/2006/table">
            <a:tbl>
              <a:tblPr/>
              <a:tblGrid>
                <a:gridCol w="96534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16569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7255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72126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50711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15642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529778">
                <a:tc>
                  <a:txBody>
                    <a:bodyPr/>
                    <a:lstStyle>
                      <a:lvl1pPr marL="0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1pPr>
                      <a:lvl2pPr marL="342716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2pPr>
                      <a:lvl3pPr marL="685434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3pPr>
                      <a:lvl4pPr marL="1028151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4pPr>
                      <a:lvl5pPr marL="1370867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5pPr>
                      <a:lvl6pPr marL="1713584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6pPr>
                      <a:lvl7pPr marL="2056300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7pPr>
                      <a:lvl8pPr marL="2399017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8pPr>
                      <a:lvl9pPr marL="2741732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600" b="1" dirty="0">
                          <a:solidFill>
                            <a:srgbClr val="F8F8F8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类型</a:t>
                      </a:r>
                      <a:endParaRPr lang="zh-CN" sz="1600" b="1" dirty="0">
                        <a:solidFill>
                          <a:srgbClr val="F8F8F8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2433" marR="62433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5DA2"/>
                    </a:solidFill>
                  </a:tcPr>
                </a:tc>
                <a:tc>
                  <a:txBody>
                    <a:bodyPr/>
                    <a:lstStyle>
                      <a:lvl1pPr marL="0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1pPr>
                      <a:lvl2pPr marL="342716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2pPr>
                      <a:lvl3pPr marL="685434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3pPr>
                      <a:lvl4pPr marL="1028151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4pPr>
                      <a:lvl5pPr marL="1370867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5pPr>
                      <a:lvl6pPr marL="1713584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6pPr>
                      <a:lvl7pPr marL="2056300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7pPr>
                      <a:lvl8pPr marL="2399017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8pPr>
                      <a:lvl9pPr marL="2741732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600" b="1" dirty="0">
                          <a:solidFill>
                            <a:srgbClr val="F8F8F8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会议内容</a:t>
                      </a:r>
                      <a:endParaRPr lang="zh-CN" sz="1600" b="1" dirty="0">
                        <a:solidFill>
                          <a:srgbClr val="F8F8F8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2433" marR="62433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5DA2"/>
                    </a:solidFill>
                  </a:tcPr>
                </a:tc>
                <a:tc>
                  <a:txBody>
                    <a:bodyPr/>
                    <a:lstStyle>
                      <a:lvl1pPr marL="0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1pPr>
                      <a:lvl2pPr marL="342716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2pPr>
                      <a:lvl3pPr marL="685434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3pPr>
                      <a:lvl4pPr marL="1028151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4pPr>
                      <a:lvl5pPr marL="1370867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5pPr>
                      <a:lvl6pPr marL="1713584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6pPr>
                      <a:lvl7pPr marL="2056300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7pPr>
                      <a:lvl8pPr marL="2399017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8pPr>
                      <a:lvl9pPr marL="2741732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600" b="1" dirty="0">
                          <a:solidFill>
                            <a:srgbClr val="F8F8F8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召集人</a:t>
                      </a:r>
                      <a:endParaRPr lang="zh-CN" sz="1600" b="1" dirty="0">
                        <a:solidFill>
                          <a:srgbClr val="F8F8F8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2433" marR="62433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5DA2"/>
                    </a:solidFill>
                  </a:tcPr>
                </a:tc>
                <a:tc>
                  <a:txBody>
                    <a:bodyPr/>
                    <a:lstStyle>
                      <a:lvl1pPr marL="0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1pPr>
                      <a:lvl2pPr marL="342716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2pPr>
                      <a:lvl3pPr marL="685434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3pPr>
                      <a:lvl4pPr marL="1028151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4pPr>
                      <a:lvl5pPr marL="1370867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5pPr>
                      <a:lvl6pPr marL="1713584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6pPr>
                      <a:lvl7pPr marL="2056300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7pPr>
                      <a:lvl8pPr marL="2399017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8pPr>
                      <a:lvl9pPr marL="2741732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600" b="1" dirty="0">
                          <a:solidFill>
                            <a:srgbClr val="F8F8F8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通知方式</a:t>
                      </a:r>
                      <a:endParaRPr lang="zh-CN" sz="1600" b="1" dirty="0">
                        <a:solidFill>
                          <a:srgbClr val="F8F8F8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2433" marR="62433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5DA2"/>
                    </a:solidFill>
                  </a:tcPr>
                </a:tc>
                <a:tc>
                  <a:txBody>
                    <a:bodyPr/>
                    <a:lstStyle>
                      <a:lvl1pPr marL="0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1pPr>
                      <a:lvl2pPr marL="342716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2pPr>
                      <a:lvl3pPr marL="685434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3pPr>
                      <a:lvl4pPr marL="1028151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4pPr>
                      <a:lvl5pPr marL="1370867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5pPr>
                      <a:lvl6pPr marL="1713584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6pPr>
                      <a:lvl7pPr marL="2056300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7pPr>
                      <a:lvl8pPr marL="2399017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8pPr>
                      <a:lvl9pPr marL="2741732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600" b="1" dirty="0">
                          <a:solidFill>
                            <a:srgbClr val="F8F8F8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参加者</a:t>
                      </a:r>
                      <a:endParaRPr lang="zh-CN" sz="1600" b="1" dirty="0">
                        <a:solidFill>
                          <a:srgbClr val="F8F8F8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2433" marR="62433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5DA2"/>
                    </a:solidFill>
                  </a:tcPr>
                </a:tc>
                <a:tc>
                  <a:txBody>
                    <a:bodyPr/>
                    <a:lstStyle>
                      <a:lvl1pPr marL="0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1pPr>
                      <a:lvl2pPr marL="342716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2pPr>
                      <a:lvl3pPr marL="685434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3pPr>
                      <a:lvl4pPr marL="1028151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4pPr>
                      <a:lvl5pPr marL="1370867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5pPr>
                      <a:lvl6pPr marL="1713584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6pPr>
                      <a:lvl7pPr marL="2056300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7pPr>
                      <a:lvl8pPr marL="2399017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8pPr>
                      <a:lvl9pPr marL="2741732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600" b="1" dirty="0">
                          <a:solidFill>
                            <a:srgbClr val="F8F8F8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要求</a:t>
                      </a:r>
                      <a:endParaRPr lang="zh-CN" sz="1600" b="1" dirty="0">
                        <a:solidFill>
                          <a:srgbClr val="F8F8F8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2433" marR="62433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5DA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91070">
                <a:tc>
                  <a:txBody>
                    <a:bodyPr/>
                    <a:lstStyle>
                      <a:lvl1pPr marL="0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1pPr>
                      <a:lvl2pPr marL="342716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2pPr>
                      <a:lvl3pPr marL="685434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3pPr>
                      <a:lvl4pPr marL="1028151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4pPr>
                      <a:lvl5pPr marL="1370867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5pPr>
                      <a:lvl6pPr marL="1713584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6pPr>
                      <a:lvl7pPr marL="2056300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7pPr>
                      <a:lvl8pPr marL="2399017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8pPr>
                      <a:lvl9pPr marL="2741732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200" dirty="0">
                          <a:solidFill>
                            <a:schemeClr val="bg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项目</a:t>
                      </a:r>
                      <a:endParaRPr lang="en-US" altLang="zh-CN" sz="1200" dirty="0">
                        <a:solidFill>
                          <a:schemeClr val="bg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200" dirty="0">
                          <a:solidFill>
                            <a:schemeClr val="bg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周例会</a:t>
                      </a:r>
                      <a:endParaRPr lang="zh-CN" sz="1200" dirty="0">
                        <a:solidFill>
                          <a:schemeClr val="bg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2433" marR="62433" marT="0" marB="0" anchor="ctr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5DA2"/>
                    </a:solidFill>
                  </a:tcPr>
                </a:tc>
                <a:tc>
                  <a:txBody>
                    <a:bodyPr/>
                    <a:lstStyle>
                      <a:lvl1pPr marL="0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1pPr>
                      <a:lvl2pPr marL="342716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2pPr>
                      <a:lvl3pPr marL="685434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3pPr>
                      <a:lvl4pPr marL="1028151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4pPr>
                      <a:lvl5pPr marL="1370867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5pPr>
                      <a:lvl6pPr marL="1713584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6pPr>
                      <a:lvl7pPr marL="2056300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7pPr>
                      <a:lvl8pPr marL="2399017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8pPr>
                      <a:lvl9pPr marL="2741732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9pPr>
                    </a:lstStyle>
                    <a:p>
                      <a:pPr>
                        <a:spcAft>
                          <a:spcPts val="0"/>
                        </a:spcAft>
                      </a:pPr>
                      <a:endParaRPr lang="en-US" altLang="zh-CN" sz="1050" b="0" dirty="0"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  <a:p>
                      <a:pPr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zh-CN" sz="1050" b="0" dirty="0"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回顾和检查项目每周实施情况，包括进度和质量评价；确认各项已解决或尚未解决的问题；</a:t>
                      </a:r>
                    </a:p>
                    <a:p>
                      <a:pPr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050" b="0" dirty="0"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 </a:t>
                      </a:r>
                      <a:r>
                        <a:rPr lang="zh-CN" sz="1050" b="0" dirty="0"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安排后续工作计划，包括任务和资源安排</a:t>
                      </a:r>
                      <a:r>
                        <a:rPr lang="zh-CN" altLang="en-US" sz="1050" b="0" dirty="0"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；</a:t>
                      </a:r>
                      <a:r>
                        <a:rPr lang="zh-CN" sz="1050" b="0" dirty="0"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提出后续工作重点，包括进度和质量要求；提示项目潜在的风险和问题</a:t>
                      </a:r>
                      <a:endParaRPr lang="zh-CN" sz="1050" b="0" dirty="0"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2433" marR="62433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1pPr>
                      <a:lvl2pPr marL="342716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2pPr>
                      <a:lvl3pPr marL="685434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3pPr>
                      <a:lvl4pPr marL="1028151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4pPr>
                      <a:lvl5pPr marL="1370867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5pPr>
                      <a:lvl6pPr marL="1713584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6pPr>
                      <a:lvl7pPr marL="2056300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7pPr>
                      <a:lvl8pPr marL="2399017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8pPr>
                      <a:lvl9pPr marL="2741732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9pPr>
                    </a:lstStyle>
                    <a:p>
                      <a:pPr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zh-CN" sz="1050" b="0" dirty="0"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项目经理 </a:t>
                      </a:r>
                      <a:endParaRPr lang="zh-CN" sz="1050" b="0" dirty="0"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2433" marR="6243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1pPr>
                      <a:lvl2pPr marL="342716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2pPr>
                      <a:lvl3pPr marL="685434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3pPr>
                      <a:lvl4pPr marL="1028151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4pPr>
                      <a:lvl5pPr marL="1370867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5pPr>
                      <a:lvl6pPr marL="1713584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6pPr>
                      <a:lvl7pPr marL="2056300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7pPr>
                      <a:lvl8pPr marL="2399017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8pPr>
                      <a:lvl9pPr marL="2741732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9pPr>
                    </a:lstStyle>
                    <a:p>
                      <a:pPr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zh-CN" sz="1050" b="0" dirty="0"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按照项目章程一般无需额外通知。如有时间或地点变动，由</a:t>
                      </a:r>
                      <a:r>
                        <a:rPr lang="zh-CN" altLang="en-US" sz="1050" b="0" dirty="0"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项目组</a:t>
                      </a:r>
                      <a:r>
                        <a:rPr lang="zh-CN" sz="1050" b="0" dirty="0"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邮件通知</a:t>
                      </a:r>
                      <a:endParaRPr lang="zh-CN" sz="1050" b="0" dirty="0"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2433" marR="6243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1pPr>
                      <a:lvl2pPr marL="342716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2pPr>
                      <a:lvl3pPr marL="685434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3pPr>
                      <a:lvl4pPr marL="1028151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4pPr>
                      <a:lvl5pPr marL="1370867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5pPr>
                      <a:lvl6pPr marL="1713584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6pPr>
                      <a:lvl7pPr marL="2056300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7pPr>
                      <a:lvl8pPr marL="2399017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8pPr>
                      <a:lvl9pPr marL="2741732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9pPr>
                    </a:lstStyle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zh-CN" altLang="en-US" sz="1050" b="0" dirty="0"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项目经理</a:t>
                      </a:r>
                      <a:endParaRPr lang="en-US" altLang="zh-CN" sz="1050" b="0" dirty="0"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zh-CN" sz="1050" b="0" dirty="0"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关键用户</a:t>
                      </a:r>
                    </a:p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zh-CN" sz="1050" b="0" dirty="0"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内部顾问</a:t>
                      </a:r>
                    </a:p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zh-CN" sz="1050" b="0" dirty="0"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其他相关人员</a:t>
                      </a:r>
                      <a:endParaRPr lang="zh-CN" sz="1050" b="0" dirty="0"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2433" marR="6243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1pPr>
                      <a:lvl2pPr marL="342716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2pPr>
                      <a:lvl3pPr marL="685434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3pPr>
                      <a:lvl4pPr marL="1028151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4pPr>
                      <a:lvl5pPr marL="1370867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5pPr>
                      <a:lvl6pPr marL="1713584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6pPr>
                      <a:lvl7pPr marL="2056300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7pPr>
                      <a:lvl8pPr marL="2399017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8pPr>
                      <a:lvl9pPr marL="2741732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9pPr>
                    </a:lstStyle>
                    <a:p>
                      <a:pPr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zh-CN" sz="1050" b="0" dirty="0"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每周</a:t>
                      </a:r>
                      <a:r>
                        <a:rPr lang="zh-CN" altLang="en-US" sz="1050" b="0" dirty="0"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五</a:t>
                      </a:r>
                      <a:r>
                        <a:rPr lang="en-US" altLang="zh-CN" sz="1050" b="0" dirty="0"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4</a:t>
                      </a:r>
                      <a:r>
                        <a:rPr lang="en-US" sz="1050" b="0" dirty="0"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:00</a:t>
                      </a:r>
                      <a:r>
                        <a:rPr lang="zh-CN" sz="1050" b="0" dirty="0"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－</a:t>
                      </a:r>
                      <a:r>
                        <a:rPr lang="en-US" sz="1050" b="0" dirty="0"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4:30</a:t>
                      </a:r>
                      <a:r>
                        <a:rPr lang="zh-CN" sz="1050" b="0" dirty="0"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召开</a:t>
                      </a:r>
                      <a:endParaRPr lang="en-US" altLang="zh-CN" sz="1050" b="0" dirty="0"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  <a:p>
                      <a:pPr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endParaRPr lang="zh-CN" sz="1050" b="0" dirty="0"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  <a:p>
                      <a:pPr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zh-CN" sz="1050" b="0" dirty="0"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在会后</a:t>
                      </a:r>
                      <a:r>
                        <a:rPr lang="en-US" sz="1050" b="0" dirty="0"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</a:t>
                      </a:r>
                      <a:r>
                        <a:rPr lang="zh-CN" sz="1050" b="0" dirty="0"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个工作日</a:t>
                      </a:r>
                      <a:r>
                        <a:rPr lang="zh-CN" altLang="en-US" sz="1050" b="0" dirty="0"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，由乙方</a:t>
                      </a:r>
                      <a:r>
                        <a:rPr lang="zh-CN" sz="1050" b="0" dirty="0"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项目经理</a:t>
                      </a:r>
                      <a:r>
                        <a:rPr lang="zh-CN" altLang="en-US" sz="1050" b="0" dirty="0"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邮件发出本周会议报告</a:t>
                      </a:r>
                      <a:endParaRPr lang="zh-CN" sz="1050" b="0" dirty="0"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2433" marR="6243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033154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zh-CN" altLang="en-US" sz="1200" kern="1200" dirty="0">
                          <a:solidFill>
                            <a:schemeClr val="bg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专题会议</a:t>
                      </a:r>
                      <a:endParaRPr lang="zh-CN" sz="1200" kern="1200" dirty="0">
                        <a:solidFill>
                          <a:schemeClr val="bg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62433" marR="62433" marT="0" marB="0" anchor="ctr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5DA2"/>
                    </a:solidFill>
                  </a:tcPr>
                </a:tc>
                <a:tc>
                  <a:txBody>
                    <a:bodyPr/>
                    <a:lstStyle>
                      <a:lvl1pPr marL="0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1pPr>
                      <a:lvl2pPr marL="342716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2pPr>
                      <a:lvl3pPr marL="685434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3pPr>
                      <a:lvl4pPr marL="1028151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4pPr>
                      <a:lvl5pPr marL="1370867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5pPr>
                      <a:lvl6pPr marL="1713584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6pPr>
                      <a:lvl7pPr marL="2056300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7pPr>
                      <a:lvl8pPr marL="2399017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8pPr>
                      <a:lvl9pPr marL="2741732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zh-CN" sz="1000" kern="1200" dirty="0"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专题性会议是专为解决某一问题而设的会议</a:t>
                      </a:r>
                      <a:r>
                        <a:rPr lang="zh-CN" altLang="en-US" sz="1000" kern="1200" dirty="0"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，例如，跨部门业务协同的问题。</a:t>
                      </a:r>
                      <a:endParaRPr lang="zh-CN" sz="1000" kern="1200" dirty="0"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62433" marR="6243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1pPr>
                      <a:lvl2pPr marL="342716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2pPr>
                      <a:lvl3pPr marL="685434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3pPr>
                      <a:lvl4pPr marL="1028151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4pPr>
                      <a:lvl5pPr marL="1370867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5pPr>
                      <a:lvl6pPr marL="1713584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6pPr>
                      <a:lvl7pPr marL="2056300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7pPr>
                      <a:lvl8pPr marL="2399017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8pPr>
                      <a:lvl9pPr marL="2741732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zh-CN" sz="1000" kern="1200" dirty="0"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关键用户</a:t>
                      </a:r>
                    </a:p>
                    <a:p>
                      <a:pPr marL="0" algn="l" defTabSz="914400" rtl="0" eaLnBrk="1" latinLnBrk="0" hangingPunct="1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zh-CN" altLang="en-US" sz="1000" kern="1200" dirty="0"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项目经理</a:t>
                      </a:r>
                      <a:endParaRPr lang="zh-CN" sz="1000" kern="1200" dirty="0"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62433" marR="6243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1pPr>
                      <a:lvl2pPr marL="342716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2pPr>
                      <a:lvl3pPr marL="685434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3pPr>
                      <a:lvl4pPr marL="1028151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4pPr>
                      <a:lvl5pPr marL="1370867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5pPr>
                      <a:lvl6pPr marL="1713584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6pPr>
                      <a:lvl7pPr marL="2056300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7pPr>
                      <a:lvl8pPr marL="2399017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8pPr>
                      <a:lvl9pPr marL="2741732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zh-CN" altLang="en-US" sz="1000" kern="1200" dirty="0"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邮件通知</a:t>
                      </a:r>
                      <a:endParaRPr lang="zh-CN" sz="1000" kern="1200" dirty="0"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62433" marR="6243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1pPr>
                      <a:lvl2pPr marL="342716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2pPr>
                      <a:lvl3pPr marL="685434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3pPr>
                      <a:lvl4pPr marL="1028151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4pPr>
                      <a:lvl5pPr marL="1370867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5pPr>
                      <a:lvl6pPr marL="1713584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6pPr>
                      <a:lvl7pPr marL="2056300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7pPr>
                      <a:lvl8pPr marL="2399017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8pPr>
                      <a:lvl9pPr marL="2741732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9pPr>
                    </a:lstStyle>
                    <a:p>
                      <a:pPr marL="0" algn="ctr" defTabSz="914400" rtl="0" eaLnBrk="1" latinLnBrk="0" hangingPunct="1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zh-CN" altLang="en-US" sz="1000" kern="1200" dirty="0"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项目经理</a:t>
                      </a:r>
                      <a:endParaRPr lang="en-US" altLang="zh-CN" sz="1000" kern="1200" dirty="0"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  <a:p>
                      <a:pPr marL="0" algn="ctr" defTabSz="914400" rtl="0" eaLnBrk="1" latinLnBrk="0" hangingPunct="1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zh-CN" altLang="en-US" sz="1000" kern="1200" dirty="0"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项目</a:t>
                      </a:r>
                      <a:r>
                        <a:rPr lang="zh-CN" sz="1000" kern="1200" dirty="0"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顾问</a:t>
                      </a:r>
                    </a:p>
                    <a:p>
                      <a:pPr marL="0" algn="ctr" defTabSz="914400" rtl="0" eaLnBrk="1" latinLnBrk="0" hangingPunct="1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zh-CN" sz="1000" kern="1200" dirty="0"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关键用户</a:t>
                      </a:r>
                    </a:p>
                    <a:p>
                      <a:pPr marL="0" algn="ctr" defTabSz="914400" rtl="0" eaLnBrk="1" latinLnBrk="0" hangingPunct="1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zh-CN" sz="1000" kern="1200" dirty="0"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其他</a:t>
                      </a:r>
                      <a:r>
                        <a:rPr lang="zh-CN" altLang="en-US" sz="1000" kern="1200" dirty="0"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相关</a:t>
                      </a:r>
                      <a:r>
                        <a:rPr lang="zh-CN" sz="1000" kern="1200" dirty="0"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人员</a:t>
                      </a:r>
                    </a:p>
                  </a:txBody>
                  <a:tcPr marL="62433" marR="6243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1pPr>
                      <a:lvl2pPr marL="342716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2pPr>
                      <a:lvl3pPr marL="685434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3pPr>
                      <a:lvl4pPr marL="1028151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4pPr>
                      <a:lvl5pPr marL="1370867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5pPr>
                      <a:lvl6pPr marL="1713584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6pPr>
                      <a:lvl7pPr marL="2056300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7pPr>
                      <a:lvl8pPr marL="2399017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8pPr>
                      <a:lvl9pPr marL="2741732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zh-CN" sz="1000" kern="1200" dirty="0"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根据项目进展情况随期召开</a:t>
                      </a:r>
                    </a:p>
                    <a:p>
                      <a:pPr marL="0" algn="l" defTabSz="914400" rtl="0" eaLnBrk="1" latinLnBrk="0" hangingPunct="1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endParaRPr lang="zh-CN" sz="1000" kern="1200" dirty="0"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  <a:p>
                      <a:pPr marL="0" algn="l" defTabSz="914400" rtl="0" eaLnBrk="1" latinLnBrk="0" hangingPunct="1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zh-CN" sz="1000" kern="1200" dirty="0"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会议纪要由</a:t>
                      </a:r>
                      <a:r>
                        <a:rPr lang="zh-CN" altLang="en-US" sz="1000" kern="1200" dirty="0"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乙方项目经理</a:t>
                      </a:r>
                      <a:r>
                        <a:rPr lang="en-US" altLang="zh-CN" sz="1000" kern="1200" dirty="0"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/</a:t>
                      </a:r>
                      <a:r>
                        <a:rPr lang="zh-CN" altLang="en-US" sz="1000" kern="1200" dirty="0"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顾问</a:t>
                      </a:r>
                      <a:r>
                        <a:rPr lang="zh-CN" sz="1000" kern="1200" dirty="0"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在会后</a:t>
                      </a:r>
                      <a:r>
                        <a:rPr lang="en-US" sz="1000" kern="1200" dirty="0"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1</a:t>
                      </a:r>
                      <a:r>
                        <a:rPr lang="zh-CN" sz="1000" kern="1200" dirty="0"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个工作日内发给相关人员</a:t>
                      </a:r>
                    </a:p>
                  </a:txBody>
                  <a:tcPr marL="62433" marR="6243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9737309"/>
                  </a:ext>
                </a:extLst>
              </a:tr>
              <a:tr h="1860526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zh-CN" altLang="en-US" sz="1200" kern="1200" dirty="0">
                          <a:solidFill>
                            <a:schemeClr val="bg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阶段性汇报</a:t>
                      </a:r>
                      <a:endParaRPr lang="zh-CN" sz="1200" kern="1200" dirty="0">
                        <a:solidFill>
                          <a:schemeClr val="bg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62433" marR="62433" marT="0" marB="0" anchor="ctr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5DA2"/>
                    </a:solidFill>
                  </a:tcPr>
                </a:tc>
                <a:tc>
                  <a:txBody>
                    <a:bodyPr/>
                    <a:lstStyle>
                      <a:lvl1pPr marL="0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1pPr>
                      <a:lvl2pPr marL="342716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2pPr>
                      <a:lvl3pPr marL="685434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3pPr>
                      <a:lvl4pPr marL="1028151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4pPr>
                      <a:lvl5pPr marL="1370867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5pPr>
                      <a:lvl6pPr marL="1713584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6pPr>
                      <a:lvl7pPr marL="2056300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7pPr>
                      <a:lvl8pPr marL="2399017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8pPr>
                      <a:lvl9pPr marL="2741732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9pPr>
                    </a:lstStyle>
                    <a:p>
                      <a:pPr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zh-CN" sz="1000" dirty="0"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回顾上一阶段已完成的任务进度及其质量</a:t>
                      </a:r>
                      <a:r>
                        <a:rPr lang="zh-CN" altLang="en-US" sz="1000" dirty="0"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，</a:t>
                      </a:r>
                      <a:r>
                        <a:rPr lang="zh-CN" sz="1000" dirty="0"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展示上一阶段已完成的可交付文档资料</a:t>
                      </a:r>
                      <a:r>
                        <a:rPr lang="zh-CN" altLang="en-US" sz="1000" dirty="0"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，</a:t>
                      </a:r>
                      <a:r>
                        <a:rPr lang="zh-CN" sz="1000" dirty="0"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听取项目领导对本阶段的工作意见；</a:t>
                      </a:r>
                      <a:endParaRPr lang="en-US" altLang="zh-CN" sz="1000" dirty="0"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  <a:p>
                      <a:pPr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zh-CN" sz="1000" dirty="0"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明确下一阶段项目工作的目标</a:t>
                      </a:r>
                      <a:r>
                        <a:rPr lang="zh-CN" altLang="en-US" sz="1000" dirty="0"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、</a:t>
                      </a:r>
                      <a:r>
                        <a:rPr lang="zh-CN" sz="1000" dirty="0"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计划</a:t>
                      </a:r>
                      <a:r>
                        <a:rPr lang="zh-CN" altLang="en-US" sz="1000" dirty="0"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、</a:t>
                      </a:r>
                      <a:r>
                        <a:rPr lang="zh-CN" sz="1000" dirty="0"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质量要求及可交付文档资料；明确下一阶段的具体工作方法和策略；下一阶段工作重点和潜在风险揭示；确定各小组成员的角色及相应责任要求</a:t>
                      </a:r>
                      <a:r>
                        <a:rPr lang="zh-CN" altLang="en-US" sz="1000" dirty="0"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。</a:t>
                      </a:r>
                      <a:endParaRPr lang="zh-CN" sz="1000" dirty="0"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2433" marR="6243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1pPr>
                      <a:lvl2pPr marL="342716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2pPr>
                      <a:lvl3pPr marL="685434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3pPr>
                      <a:lvl4pPr marL="1028151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4pPr>
                      <a:lvl5pPr marL="1370867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5pPr>
                      <a:lvl6pPr marL="1713584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6pPr>
                      <a:lvl7pPr marL="2056300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7pPr>
                      <a:lvl8pPr marL="2399017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8pPr>
                      <a:lvl9pPr marL="2741732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9pPr>
                    </a:lstStyle>
                    <a:p>
                      <a:pPr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zh-CN" sz="1000" dirty="0"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项目经理</a:t>
                      </a:r>
                      <a:endParaRPr lang="zh-CN" sz="1000" dirty="0"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2433" marR="6243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1pPr>
                      <a:lvl2pPr marL="342716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2pPr>
                      <a:lvl3pPr marL="685434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3pPr>
                      <a:lvl4pPr marL="1028151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4pPr>
                      <a:lvl5pPr marL="1370867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5pPr>
                      <a:lvl6pPr marL="1713584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6pPr>
                      <a:lvl7pPr marL="2056300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7pPr>
                      <a:lvl8pPr marL="2399017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8pPr>
                      <a:lvl9pPr marL="2741732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9pPr>
                    </a:lstStyle>
                    <a:p>
                      <a:pPr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zh-CN" altLang="en-US" sz="1000" dirty="0"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邮件通知</a:t>
                      </a:r>
                      <a:endParaRPr lang="zh-CN" sz="1000" dirty="0"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2433" marR="6243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1pPr>
                      <a:lvl2pPr marL="342716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2pPr>
                      <a:lvl3pPr marL="685434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3pPr>
                      <a:lvl4pPr marL="1028151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4pPr>
                      <a:lvl5pPr marL="1370867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5pPr>
                      <a:lvl6pPr marL="1713584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6pPr>
                      <a:lvl7pPr marL="2056300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7pPr>
                      <a:lvl8pPr marL="2399017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8pPr>
                      <a:lvl9pPr marL="2741732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9pPr>
                    </a:lstStyle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zh-CN" sz="1000" dirty="0"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项目总监</a:t>
                      </a:r>
                    </a:p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zh-CN" altLang="en-US" sz="1000" dirty="0"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项目经理</a:t>
                      </a:r>
                      <a:endParaRPr lang="en-US" altLang="zh-CN" sz="1000" dirty="0"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zh-CN" sz="1000" dirty="0"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关键用户</a:t>
                      </a:r>
                    </a:p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zh-CN" sz="1000" dirty="0"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其他相关人员</a:t>
                      </a:r>
                      <a:endParaRPr lang="zh-CN" sz="1000" dirty="0"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62433" marR="6243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1pPr>
                      <a:lvl2pPr marL="342716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2pPr>
                      <a:lvl3pPr marL="685434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3pPr>
                      <a:lvl4pPr marL="1028151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4pPr>
                      <a:lvl5pPr marL="1370867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5pPr>
                      <a:lvl6pPr marL="1713584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6pPr>
                      <a:lvl7pPr marL="2056300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7pPr>
                      <a:lvl8pPr marL="2399017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8pPr>
                      <a:lvl9pPr marL="2741732" algn="l" defTabSz="685434" rtl="0" eaLnBrk="1" latinLnBrk="0" hangingPunct="1">
                        <a:defRPr sz="1300" kern="1200">
                          <a:solidFill>
                            <a:schemeClr val="dk1"/>
                          </a:solidFill>
                          <a:latin typeface="Book Antiqua"/>
                          <a:ea typeface="SimSun"/>
                        </a:defRPr>
                      </a:lvl9pPr>
                    </a:lstStyle>
                    <a:p>
                      <a:pPr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zh-CN" sz="1000" dirty="0"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每一个阶段结束和下一阶段开始时召开</a:t>
                      </a:r>
                      <a:endParaRPr lang="en-US" altLang="zh-CN" sz="1000" dirty="0"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  <a:p>
                      <a:pPr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endParaRPr lang="en-US" altLang="zh-CN" sz="1000" dirty="0"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  <a:p>
                      <a:pPr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zh-CN" altLang="en-US" sz="1000" dirty="0"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在会后</a:t>
                      </a:r>
                      <a:r>
                        <a:rPr lang="en-US" altLang="zh-CN" sz="1000" dirty="0"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</a:t>
                      </a:r>
                      <a:r>
                        <a:rPr lang="zh-CN" altLang="en-US" sz="1000" dirty="0"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个工作日内，由项目经理邮件发送阶段性汇报及腰。</a:t>
                      </a:r>
                      <a:endParaRPr lang="zh-CN" sz="1000" dirty="0"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62433" marR="6243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49277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1548448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矩形 13">
            <a:extLst>
              <a:ext uri="{FF2B5EF4-FFF2-40B4-BE49-F238E27FC236}">
                <a16:creationId xmlns:a16="http://schemas.microsoft.com/office/drawing/2014/main" id="{EFD5A42D-FCC7-490F-BC97-8AB1A87DCECB}"/>
              </a:ext>
            </a:extLst>
          </p:cNvPr>
          <p:cNvSpPr/>
          <p:nvPr/>
        </p:nvSpPr>
        <p:spPr>
          <a:xfrm>
            <a:off x="0" y="267266"/>
            <a:ext cx="3087584" cy="5276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zh-CN" altLang="en-US" sz="2800" b="1" dirty="0">
                <a:solidFill>
                  <a:schemeClr val="tx1"/>
                </a:solidFill>
                <a:latin typeface="方正兰亭纤黑简体" panose="02000000000000000000" pitchFamily="2" charset="-122"/>
                <a:ea typeface="方正兰亭纤黑简体" panose="02000000000000000000" pitchFamily="2" charset="-122"/>
              </a:rPr>
              <a:t>项目风险管控</a:t>
            </a:r>
          </a:p>
        </p:txBody>
      </p:sp>
      <p:graphicFrame>
        <p:nvGraphicFramePr>
          <p:cNvPr id="4" name="内容占位符 3">
            <a:extLst>
              <a:ext uri="{FF2B5EF4-FFF2-40B4-BE49-F238E27FC236}">
                <a16:creationId xmlns:a16="http://schemas.microsoft.com/office/drawing/2014/main" id="{696038D3-B1C4-4441-BCE2-D69682B773E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62540421"/>
              </p:ext>
            </p:extLst>
          </p:nvPr>
        </p:nvGraphicFramePr>
        <p:xfrm>
          <a:off x="570017" y="952933"/>
          <a:ext cx="11355833" cy="5289627"/>
        </p:xfrm>
        <a:graphic>
          <a:graphicData uri="http://schemas.openxmlformats.org/drawingml/2006/table">
            <a:tbl>
              <a:tblPr firstRow="1">
                <a:tableStyleId>{7DF18680-E054-41AD-8BC1-D1AEF772440D}</a:tableStyleId>
              </a:tblPr>
              <a:tblGrid>
                <a:gridCol w="50365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7245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0919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4765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3127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323305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246964">
                  <a:extLst>
                    <a:ext uri="{9D8B030D-6E8A-4147-A177-3AD203B41FA5}">
                      <a16:colId xmlns:a16="http://schemas.microsoft.com/office/drawing/2014/main" val="1617906241"/>
                    </a:ext>
                  </a:extLst>
                </a:gridCol>
              </a:tblGrid>
              <a:tr h="465453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u="none" strike="noStrike" dirty="0"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序号</a:t>
                      </a:r>
                      <a:endParaRPr lang="zh-CN" alt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L="8660" marR="8660" marT="649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u="none" strike="noStrike" dirty="0"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风险来源</a:t>
                      </a:r>
                      <a:endParaRPr lang="zh-CN" alt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L="8660" marR="8660" marT="649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u="none" strike="noStrike" dirty="0"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原因</a:t>
                      </a:r>
                      <a:endParaRPr lang="zh-CN" alt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L="8660" marR="8660" marT="649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u="none" strike="noStrike" dirty="0"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对项目影响</a:t>
                      </a:r>
                      <a:endParaRPr lang="zh-CN" alt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L="8660" marR="8660" marT="649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u="none" strike="noStrike" dirty="0"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程度</a:t>
                      </a:r>
                      <a:endParaRPr lang="zh-CN" alt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L="8660" marR="8660" marT="649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u="none" strike="noStrike" dirty="0"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应对措施</a:t>
                      </a:r>
                      <a:endParaRPr lang="zh-CN" alt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L="8660" marR="8660" marT="649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u="none" strike="noStrike" dirty="0"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措施落实日期</a:t>
                      </a:r>
                      <a:endParaRPr lang="zh-CN" alt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L="8660" marR="8660" marT="6496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7689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u="none" strike="noStrike" dirty="0"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1</a:t>
                      </a:r>
                      <a:endParaRPr lang="en-US" altLang="zh-CN" sz="1200" b="0" i="0" u="none" strike="noStrike" dirty="0">
                        <a:solidFill>
                          <a:schemeClr val="tx1"/>
                        </a:solidFill>
                        <a:effectLst/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L="8660" marR="8660" marT="649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u="none" strike="noStrike" dirty="0"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需求边界不清</a:t>
                      </a:r>
                      <a:endParaRPr lang="zh-CN" altLang="en-US" sz="1200" b="0" i="0" u="none" strike="noStrike" dirty="0">
                        <a:solidFill>
                          <a:schemeClr val="tx1"/>
                        </a:solidFill>
                        <a:effectLst/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L="8660" marR="8660" marT="6496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50000"/>
                        </a:lnSpc>
                      </a:pPr>
                      <a:r>
                        <a:rPr lang="zh-CN" altLang="en-US" sz="1200" u="none" strike="noStrike" dirty="0"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 项目范围边界不清</a:t>
                      </a:r>
                      <a:endParaRPr lang="zh-CN" altLang="en-US" sz="1200" b="0" i="0" u="none" strike="noStrike" dirty="0">
                        <a:solidFill>
                          <a:schemeClr val="tx1"/>
                        </a:solidFill>
                        <a:effectLst/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L="8660" marR="8660" marT="6496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50000"/>
                        </a:lnSpc>
                      </a:pPr>
                      <a:r>
                        <a:rPr lang="zh-CN" altLang="en-US" sz="1200" u="none" strike="noStrike" dirty="0"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项目无法按时上线，且与项目期望值不符</a:t>
                      </a:r>
                      <a:endParaRPr lang="zh-CN" altLang="en-US" sz="1200" b="0" i="0" u="none" strike="noStrike" dirty="0">
                        <a:solidFill>
                          <a:schemeClr val="tx1"/>
                        </a:solidFill>
                        <a:effectLst/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L="8660" marR="8660" marT="6496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zh-CN" altLang="en-US" sz="1200" u="none" strike="noStrike" kern="1200" dirty="0"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重要</a:t>
                      </a:r>
                      <a:endParaRPr lang="zh-CN" altLang="en-US" sz="1200" b="0" i="0" u="none" strike="noStrike" kern="1200" dirty="0">
                        <a:solidFill>
                          <a:srgbClr val="FF0000"/>
                        </a:solidFill>
                        <a:effectLst/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8660" marR="8660" marT="6496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50000"/>
                        </a:lnSpc>
                      </a:pPr>
                      <a:r>
                        <a:rPr lang="zh-CN" altLang="en-US" sz="1200" u="none" strike="noStrike" kern="1200" dirty="0"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业务部门、信息部门</a:t>
                      </a:r>
                      <a:r>
                        <a:rPr lang="zh-CN" altLang="en-US" sz="1200" u="none" strike="noStrike" kern="1200" dirty="0">
                          <a:solidFill>
                            <a:schemeClr val="tx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、外部顾问在项目开发前明确项目范围。</a:t>
                      </a:r>
                      <a:endParaRPr lang="en-US" altLang="zh-CN" sz="1200" u="none" strike="noStrike" kern="1200" dirty="0">
                        <a:effectLst/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L="8660" marR="8660" marT="6496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u="none" strike="noStrike" dirty="0"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2019</a:t>
                      </a:r>
                      <a:r>
                        <a:rPr lang="zh-CN" altLang="en-US" sz="1200" u="none" strike="noStrike" dirty="0"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年</a:t>
                      </a:r>
                      <a:r>
                        <a:rPr lang="en-US" altLang="zh-CN" sz="1200" u="none" strike="noStrike" dirty="0"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8</a:t>
                      </a:r>
                      <a:r>
                        <a:rPr lang="zh-CN" altLang="en-US" sz="1200" u="none" strike="noStrike" dirty="0"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月</a:t>
                      </a:r>
                      <a:r>
                        <a:rPr lang="en-US" altLang="zh-CN" sz="1200" u="none" strike="noStrike" dirty="0"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15</a:t>
                      </a:r>
                      <a:r>
                        <a:rPr lang="zh-CN" altLang="en-US" sz="1200" u="none" strike="noStrike" dirty="0"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日</a:t>
                      </a:r>
                      <a:endParaRPr lang="zh-CN" altLang="en-US" sz="1200" u="none" strike="noStrike" kern="1200" dirty="0">
                        <a:solidFill>
                          <a:schemeClr val="tx1"/>
                        </a:solidFill>
                        <a:effectLst/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8660" marR="8660" marT="6496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7146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u="none" strike="noStrike" dirty="0"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2</a:t>
                      </a:r>
                      <a:endParaRPr lang="en-US" altLang="zh-CN" sz="1200" b="0" i="0" u="none" strike="noStrike" dirty="0">
                        <a:solidFill>
                          <a:schemeClr val="tx1"/>
                        </a:solidFill>
                        <a:effectLst/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L="8660" marR="8660" marT="649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u="none" strike="noStrike" dirty="0"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业务标准化模块数据梳理</a:t>
                      </a:r>
                      <a:endParaRPr lang="zh-CN" altLang="en-US" sz="1200" b="0" i="0" u="none" strike="noStrike" dirty="0">
                        <a:solidFill>
                          <a:schemeClr val="tx1"/>
                        </a:solidFill>
                        <a:effectLst/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L="8660" marR="8660" marT="6496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50000"/>
                        </a:lnSpc>
                      </a:pPr>
                      <a:r>
                        <a:rPr lang="zh-CN" altLang="en-US" sz="1200" u="none" strike="noStrike" kern="1200" dirty="0">
                          <a:solidFill>
                            <a:schemeClr val="dk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线下标准化模块梳理不及时</a:t>
                      </a:r>
                    </a:p>
                  </a:txBody>
                  <a:tcPr marL="8660" marR="8660" marT="6496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50000"/>
                        </a:lnSpc>
                      </a:pPr>
                      <a:r>
                        <a:rPr lang="zh-CN" altLang="en-US" sz="1200" u="none" strike="noStrike" dirty="0"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推迟项目上线时间</a:t>
                      </a:r>
                      <a:endParaRPr lang="zh-CN" altLang="en-US" sz="1200" b="0" i="0" u="none" strike="noStrike" dirty="0">
                        <a:solidFill>
                          <a:schemeClr val="tx1"/>
                        </a:solidFill>
                        <a:effectLst/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L="8660" marR="8660" marT="649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u="none" strike="noStrike" kern="1200" dirty="0"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重要</a:t>
                      </a:r>
                      <a:endParaRPr lang="zh-CN" altLang="en-US" sz="1200" u="none" strike="noStrike" kern="1200" dirty="0">
                        <a:solidFill>
                          <a:schemeClr val="tx1"/>
                        </a:solidFill>
                        <a:effectLst/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8660" marR="8660" marT="6496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50000"/>
                        </a:lnSpc>
                      </a:pPr>
                      <a:r>
                        <a:rPr lang="en-US" altLang="zh-CN" sz="1200" u="none" strike="noStrike" dirty="0"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1</a:t>
                      </a:r>
                      <a:r>
                        <a:rPr lang="zh-CN" altLang="en-US" sz="1200" u="none" strike="noStrike" dirty="0"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、确定数据梳理方案；</a:t>
                      </a:r>
                      <a:endParaRPr lang="en-US" altLang="zh-CN" sz="1200" u="none" strike="noStrike" dirty="0">
                        <a:effectLst/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  <a:p>
                      <a:pPr algn="l" fontAlgn="ctr">
                        <a:lnSpc>
                          <a:spcPct val="150000"/>
                        </a:lnSpc>
                      </a:pPr>
                      <a:r>
                        <a:rPr lang="en-US" altLang="zh-CN" sz="1200" u="none" strike="noStrike" dirty="0"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2</a:t>
                      </a:r>
                      <a:r>
                        <a:rPr lang="zh-CN" altLang="en-US" sz="1200" u="none" strike="noStrike" dirty="0"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、定制数据梳理计划和责任人，严格按照计划梳理标准化模块数据。</a:t>
                      </a:r>
                      <a:endParaRPr lang="zh-CN" altLang="en-US" sz="1200" b="0" i="0" u="none" strike="noStrike" dirty="0">
                        <a:solidFill>
                          <a:schemeClr val="tx1"/>
                        </a:solidFill>
                        <a:effectLst/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L="8660" marR="8660" marT="6496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需求阶段落实梳理计划</a:t>
                      </a:r>
                    </a:p>
                  </a:txBody>
                  <a:tcPr marL="8660" marR="8660" marT="6496" marB="0" anchor="ctr"/>
                </a:tc>
                <a:extLst>
                  <a:ext uri="{0D108BD9-81ED-4DB2-BD59-A6C34878D82A}">
                    <a16:rowId xmlns:a16="http://schemas.microsoft.com/office/drawing/2014/main" val="1980030026"/>
                  </a:ext>
                </a:extLst>
              </a:tr>
              <a:tr h="104782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3</a:t>
                      </a:r>
                    </a:p>
                  </a:txBody>
                  <a:tcPr marL="8660" marR="8660" marT="649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配合度不高</a:t>
                      </a:r>
                    </a:p>
                  </a:txBody>
                  <a:tcPr marL="8660" marR="8660" marT="6496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buFontTx/>
                        <a:buNone/>
                        <a:defRPr/>
                      </a:pPr>
                      <a:endParaRPr lang="en-US" altLang="zh-CN" sz="1200" b="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  <a:p>
                      <a:pPr>
                        <a:lnSpc>
                          <a:spcPct val="150000"/>
                        </a:lnSpc>
                        <a:buFontTx/>
                        <a:buNone/>
                        <a:defRPr/>
                      </a:pPr>
                      <a:r>
                        <a:rPr lang="en-US" altLang="zh-CN" sz="12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1</a:t>
                      </a: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、参与项目时间不够；</a:t>
                      </a:r>
                      <a:endParaRPr lang="en-US" altLang="zh-CN" sz="1200" b="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  <a:p>
                      <a:pPr>
                        <a:lnSpc>
                          <a:spcPct val="150000"/>
                        </a:lnSpc>
                        <a:buFontTx/>
                        <a:buNone/>
                        <a:defRPr/>
                      </a:pPr>
                      <a:r>
                        <a:rPr lang="en-US" altLang="zh-CN" sz="12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2</a:t>
                      </a: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、决策速度不够；</a:t>
                      </a:r>
                      <a:endParaRPr lang="en-US" altLang="zh-CN" sz="1200" b="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  <a:p>
                      <a:pPr>
                        <a:lnSpc>
                          <a:spcPct val="150000"/>
                        </a:lnSpc>
                        <a:buFontTx/>
                        <a:buNone/>
                        <a:defRPr/>
                      </a:pPr>
                      <a:r>
                        <a:rPr lang="en-US" altLang="zh-CN" sz="12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3</a:t>
                      </a: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、关键用户不愿意承担过多项目实施任务；</a:t>
                      </a:r>
                      <a:endParaRPr lang="en-US" altLang="zh-CN" sz="1200" b="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  <a:p>
                      <a:pPr>
                        <a:lnSpc>
                          <a:spcPct val="150000"/>
                        </a:lnSpc>
                        <a:buFontTx/>
                        <a:buNone/>
                        <a:defRPr/>
                      </a:pPr>
                      <a:r>
                        <a:rPr lang="en-US" altLang="zh-CN" sz="12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4</a:t>
                      </a: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、关键用户无法投入更多的时间；</a:t>
                      </a:r>
                      <a:endParaRPr lang="zh-CN" altLang="en-US" sz="1200" b="0" i="0" u="none" strike="noStrike" dirty="0">
                        <a:solidFill>
                          <a:schemeClr val="tx1"/>
                        </a:solidFill>
                        <a:effectLst/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L="8660" marR="8660" marT="6496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50000"/>
                        </a:lnSpc>
                      </a:pPr>
                      <a:r>
                        <a:rPr lang="zh-CN" alt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推迟项目上线时间，项目质量不佳</a:t>
                      </a:r>
                    </a:p>
                  </a:txBody>
                  <a:tcPr marL="8660" marR="8660" marT="6496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zh-CN" altLang="en-US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中等</a:t>
                      </a:r>
                    </a:p>
                  </a:txBody>
                  <a:tcPr marL="8660" marR="8660" marT="6496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50000"/>
                        </a:lnSpc>
                      </a:pPr>
                      <a:r>
                        <a:rPr lang="en-US" altLang="zh-CN" sz="1200" u="none" strike="noStrike" kern="1200" dirty="0">
                          <a:solidFill>
                            <a:schemeClr val="tx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1</a:t>
                      </a:r>
                      <a:r>
                        <a:rPr lang="zh-CN" altLang="en-US" sz="1200" u="none" strike="noStrike" kern="1200" dirty="0">
                          <a:solidFill>
                            <a:schemeClr val="tx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、双方管理层重视本项目并保证资源投入；</a:t>
                      </a:r>
                      <a:endParaRPr lang="en-US" altLang="zh-CN" sz="1200" u="none" strike="noStrike" kern="1200" dirty="0">
                        <a:solidFill>
                          <a:schemeClr val="tx1"/>
                        </a:solidFill>
                        <a:effectLst/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+mn-cs"/>
                      </a:endParaRPr>
                    </a:p>
                    <a:p>
                      <a:pPr algn="l" fontAlgn="ctr">
                        <a:lnSpc>
                          <a:spcPct val="150000"/>
                        </a:lnSpc>
                      </a:pPr>
                      <a:r>
                        <a:rPr lang="en-US" altLang="zh-CN" sz="1200" u="none" strike="noStrike" kern="1200" dirty="0">
                          <a:solidFill>
                            <a:schemeClr val="tx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2</a:t>
                      </a:r>
                      <a:r>
                        <a:rPr lang="zh-CN" altLang="en-US" sz="1200" u="none" strike="noStrike" kern="1200" dirty="0">
                          <a:solidFill>
                            <a:schemeClr val="tx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、双方共同制定项目计划；</a:t>
                      </a:r>
                      <a:endParaRPr lang="en-US" altLang="zh-CN" sz="1200" u="none" strike="noStrike" kern="1200" dirty="0">
                        <a:solidFill>
                          <a:schemeClr val="tx1"/>
                        </a:solidFill>
                        <a:effectLst/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+mn-cs"/>
                      </a:endParaRPr>
                    </a:p>
                    <a:p>
                      <a:pPr algn="l" fontAlgn="ctr">
                        <a:lnSpc>
                          <a:spcPct val="150000"/>
                        </a:lnSpc>
                      </a:pPr>
                      <a:r>
                        <a:rPr lang="en-US" altLang="zh-CN" sz="1200" u="none" strike="noStrike" kern="1200" dirty="0">
                          <a:solidFill>
                            <a:schemeClr val="tx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3</a:t>
                      </a:r>
                      <a:r>
                        <a:rPr lang="zh-CN" altLang="en-US" sz="1200" u="none" strike="noStrike" kern="1200" dirty="0">
                          <a:solidFill>
                            <a:schemeClr val="tx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、建立相互监督机制，乙方配合度不高根据合同约定，可终止合同；甲方配合度不高，可向项目组织上一层级反馈。</a:t>
                      </a:r>
                      <a:endParaRPr lang="en-US" altLang="zh-CN" sz="1200" u="none" strike="noStrike" kern="1200" dirty="0">
                        <a:solidFill>
                          <a:schemeClr val="tx1"/>
                        </a:solidFill>
                        <a:effectLst/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8660" marR="8660" marT="6496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1200" u="none" strike="noStrike" kern="1200" dirty="0">
                        <a:solidFill>
                          <a:schemeClr val="tx1"/>
                        </a:solidFill>
                        <a:effectLst/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8660" marR="8660" marT="6496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1472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4</a:t>
                      </a:r>
                    </a:p>
                  </a:txBody>
                  <a:tcPr marL="8660" marR="8660" marT="649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变更量大</a:t>
                      </a:r>
                    </a:p>
                  </a:txBody>
                  <a:tcPr marL="8660" marR="8660" marT="6496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buFontTx/>
                        <a:buNone/>
                        <a:defRPr/>
                      </a:pPr>
                      <a:r>
                        <a:rPr lang="en-US" altLang="zh-CN" sz="1200" b="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</a:t>
                      </a: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、业务部门始终无法最终确定需求与方案；</a:t>
                      </a:r>
                      <a:endParaRPr lang="en-US" altLang="zh-CN" sz="1200" b="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  <a:p>
                      <a:pPr>
                        <a:lnSpc>
                          <a:spcPct val="150000"/>
                        </a:lnSpc>
                        <a:buFontTx/>
                        <a:buNone/>
                        <a:defRPr/>
                      </a:pPr>
                      <a:r>
                        <a:rPr lang="en-US" altLang="zh-CN" sz="1200" b="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</a:t>
                      </a: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、在方案确定后又提出很多新的想法；</a:t>
                      </a:r>
                    </a:p>
                    <a:p>
                      <a:pPr>
                        <a:lnSpc>
                          <a:spcPct val="150000"/>
                        </a:lnSpc>
                        <a:buFontTx/>
                        <a:buNone/>
                        <a:defRPr/>
                      </a:pPr>
                      <a:r>
                        <a:rPr lang="en-US" altLang="zh-CN" sz="1200" b="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3</a:t>
                      </a: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、在项目实施期间要求增加新的业务内容；</a:t>
                      </a:r>
                      <a:endParaRPr lang="en-US" altLang="zh-CN" sz="1200" b="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8660" marR="8660" marT="6496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u="none" strike="noStrike" kern="1200" dirty="0">
                          <a:solidFill>
                            <a:schemeClr val="tx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推迟项目上线时间</a:t>
                      </a:r>
                    </a:p>
                  </a:txBody>
                  <a:tcPr marL="8660" marR="8660" marT="649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u="none" strike="noStrike" kern="1200" dirty="0">
                          <a:solidFill>
                            <a:schemeClr val="tx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重要</a:t>
                      </a:r>
                    </a:p>
                  </a:txBody>
                  <a:tcPr marL="8660" marR="8660" marT="6496" marB="0" anchor="ctr"/>
                </a:tc>
                <a:tc>
                  <a:txBody>
                    <a:bodyPr/>
                    <a:lstStyle/>
                    <a:p>
                      <a:pPr eaLnBrk="1" hangingPunct="1">
                        <a:lnSpc>
                          <a:spcPct val="150000"/>
                        </a:lnSpc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</a:t>
                      </a: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、制定项目方案决策流程；</a:t>
                      </a:r>
                      <a:endParaRPr lang="en-US" altLang="zh-CN" sz="1200" b="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  <a:p>
                      <a:pPr eaLnBrk="1" hangingPunct="1">
                        <a:lnSpc>
                          <a:spcPct val="150000"/>
                        </a:lnSpc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</a:t>
                      </a: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、制定项目变更流程</a:t>
                      </a:r>
                    </a:p>
                    <a:p>
                      <a:pPr algn="l" fontAlgn="ctr">
                        <a:lnSpc>
                          <a:spcPct val="150000"/>
                        </a:lnSpc>
                      </a:pPr>
                      <a:endParaRPr lang="zh-CN" altLang="en-US" sz="1200" u="none" strike="noStrike" kern="1200" dirty="0">
                        <a:solidFill>
                          <a:schemeClr val="tx1"/>
                        </a:solidFill>
                        <a:effectLst/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8660" marR="8660" marT="6496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1200" u="none" strike="noStrike" kern="1200" dirty="0">
                        <a:solidFill>
                          <a:schemeClr val="tx1"/>
                        </a:solidFill>
                        <a:effectLst/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8660" marR="8660" marT="6496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0736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5</a:t>
                      </a:r>
                    </a:p>
                  </a:txBody>
                  <a:tcPr marL="8660" marR="8660" marT="649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人员变动</a:t>
                      </a:r>
                    </a:p>
                  </a:txBody>
                  <a:tcPr marL="8660" marR="8660" marT="6496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buFontTx/>
                        <a:buNone/>
                        <a:defRPr/>
                      </a:pP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项目人员离职或其他原因不能参与项目，公司资源不足</a:t>
                      </a:r>
                      <a:endParaRPr lang="en-US" altLang="zh-CN" sz="1200" b="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8660" marR="8660" marT="6496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u="none" strike="noStrike" kern="1200" dirty="0">
                          <a:solidFill>
                            <a:schemeClr val="tx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推迟项目上线时间</a:t>
                      </a:r>
                    </a:p>
                  </a:txBody>
                  <a:tcPr marL="8660" marR="8660" marT="649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u="none" strike="noStrike" kern="1200" dirty="0">
                          <a:solidFill>
                            <a:schemeClr val="tx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重要</a:t>
                      </a:r>
                    </a:p>
                  </a:txBody>
                  <a:tcPr marL="8660" marR="8660" marT="6496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50000"/>
                        </a:lnSpc>
                      </a:pPr>
                      <a:r>
                        <a:rPr lang="en-US" altLang="zh-CN" sz="1200" u="none" strike="noStrike" kern="1200" dirty="0">
                          <a:solidFill>
                            <a:schemeClr val="tx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1</a:t>
                      </a:r>
                      <a:r>
                        <a:rPr lang="zh-CN" altLang="en-US" sz="1200" u="none" strike="noStrike" kern="1200" dirty="0">
                          <a:solidFill>
                            <a:schemeClr val="tx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、项目人员安排公司核心合伙人成员</a:t>
                      </a:r>
                      <a:endParaRPr lang="en-US" altLang="zh-CN" sz="1200" u="none" strike="noStrike" kern="1200" dirty="0">
                        <a:solidFill>
                          <a:schemeClr val="tx1"/>
                        </a:solidFill>
                        <a:effectLst/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+mn-cs"/>
                      </a:endParaRPr>
                    </a:p>
                    <a:p>
                      <a:pPr algn="l" fontAlgn="ctr">
                        <a:lnSpc>
                          <a:spcPct val="150000"/>
                        </a:lnSpc>
                      </a:pPr>
                      <a:r>
                        <a:rPr lang="en-US" altLang="zh-CN" sz="1200" u="none" strike="noStrike" kern="1200" dirty="0">
                          <a:solidFill>
                            <a:schemeClr val="tx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2</a:t>
                      </a:r>
                      <a:r>
                        <a:rPr lang="zh-CN" altLang="en-US" sz="1200" u="none" strike="noStrike" kern="1200" dirty="0">
                          <a:solidFill>
                            <a:schemeClr val="tx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、组织备用人员以防人员变动</a:t>
                      </a:r>
                    </a:p>
                  </a:txBody>
                  <a:tcPr marL="8660" marR="8660" marT="6496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1200" u="none" strike="noStrike" kern="1200" dirty="0">
                        <a:solidFill>
                          <a:schemeClr val="tx1"/>
                        </a:solidFill>
                        <a:effectLst/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8660" marR="8660" marT="6496" marB="0" anchor="ctr"/>
                </a:tc>
                <a:extLst>
                  <a:ext uri="{0D108BD9-81ED-4DB2-BD59-A6C34878D82A}">
                    <a16:rowId xmlns:a16="http://schemas.microsoft.com/office/drawing/2014/main" val="4291583324"/>
                  </a:ext>
                </a:extLst>
              </a:tr>
              <a:tr h="20736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6</a:t>
                      </a:r>
                    </a:p>
                  </a:txBody>
                  <a:tcPr marL="8660" marR="8660" marT="649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核心技术难点解决</a:t>
                      </a:r>
                    </a:p>
                  </a:txBody>
                  <a:tcPr marL="8660" marR="8660" marT="6496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buFontTx/>
                        <a:buNone/>
                        <a:defRPr/>
                      </a:pP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技术难点问题的解决碰到困难</a:t>
                      </a:r>
                      <a:endParaRPr lang="en-US" altLang="zh-CN" sz="1200" b="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8660" marR="8660" marT="6496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u="none" strike="noStrike" kern="1200" dirty="0">
                          <a:solidFill>
                            <a:schemeClr val="tx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推迟项目上线时间，项目质量不佳</a:t>
                      </a:r>
                    </a:p>
                  </a:txBody>
                  <a:tcPr marL="8660" marR="8660" marT="649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u="none" strike="noStrike" kern="1200" dirty="0">
                          <a:solidFill>
                            <a:schemeClr val="tx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重要</a:t>
                      </a:r>
                    </a:p>
                  </a:txBody>
                  <a:tcPr marL="8660" marR="8660" marT="6496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50000"/>
                        </a:lnSpc>
                      </a:pPr>
                      <a:r>
                        <a:rPr lang="en-US" altLang="zh-CN" sz="1200" u="none" strike="noStrike" kern="1200" dirty="0">
                          <a:solidFill>
                            <a:schemeClr val="tx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1</a:t>
                      </a:r>
                      <a:r>
                        <a:rPr lang="zh-CN" altLang="en-US" sz="1200" u="none" strike="noStrike" kern="1200" dirty="0">
                          <a:solidFill>
                            <a:schemeClr val="tx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、安排资深专业</a:t>
                      </a:r>
                      <a:r>
                        <a:rPr lang="en-US" altLang="zh-CN" sz="1200" u="none" strike="noStrike" kern="1200" dirty="0">
                          <a:solidFill>
                            <a:schemeClr val="tx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CAD</a:t>
                      </a:r>
                      <a:r>
                        <a:rPr lang="zh-CN" altLang="en-US" sz="1200" u="none" strike="noStrike" kern="1200" dirty="0">
                          <a:solidFill>
                            <a:schemeClr val="tx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开发人员投入项目</a:t>
                      </a:r>
                      <a:endParaRPr lang="en-US" altLang="zh-CN" sz="1200" u="none" strike="noStrike" kern="1200" dirty="0">
                        <a:solidFill>
                          <a:schemeClr val="tx1"/>
                        </a:solidFill>
                        <a:effectLst/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+mn-cs"/>
                      </a:endParaRPr>
                    </a:p>
                    <a:p>
                      <a:pPr algn="l" fontAlgn="ctr">
                        <a:lnSpc>
                          <a:spcPct val="150000"/>
                        </a:lnSpc>
                      </a:pPr>
                      <a:r>
                        <a:rPr lang="en-US" altLang="zh-CN" sz="1200" u="none" strike="noStrike" kern="1200" dirty="0">
                          <a:solidFill>
                            <a:schemeClr val="tx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2</a:t>
                      </a:r>
                      <a:r>
                        <a:rPr lang="zh-CN" altLang="en-US" sz="1200" u="none" strike="noStrike" kern="1200" dirty="0">
                          <a:solidFill>
                            <a:schemeClr val="tx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、难点问题引入其他</a:t>
                      </a:r>
                      <a:r>
                        <a:rPr lang="en-US" altLang="zh-CN" sz="1200" u="none" strike="noStrike" kern="1200" dirty="0">
                          <a:solidFill>
                            <a:schemeClr val="tx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CAD</a:t>
                      </a:r>
                      <a:r>
                        <a:rPr lang="zh-CN" altLang="en-US" sz="1200" u="none" strike="noStrike" kern="1200" dirty="0">
                          <a:solidFill>
                            <a:schemeClr val="tx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行业人员协助解决</a:t>
                      </a:r>
                    </a:p>
                  </a:txBody>
                  <a:tcPr marL="8660" marR="8660" marT="6496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1200" u="none" strike="noStrike" kern="1200" dirty="0">
                        <a:solidFill>
                          <a:schemeClr val="tx1"/>
                        </a:solidFill>
                        <a:effectLst/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8660" marR="8660" marT="6496" marB="0" anchor="ctr"/>
                </a:tc>
                <a:extLst>
                  <a:ext uri="{0D108BD9-81ED-4DB2-BD59-A6C34878D82A}">
                    <a16:rowId xmlns:a16="http://schemas.microsoft.com/office/drawing/2014/main" val="212378445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2900650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34846" y="212180"/>
            <a:ext cx="11725484" cy="298327"/>
          </a:xfrm>
        </p:spPr>
        <p:txBody>
          <a:bodyPr>
            <a:no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buClr>
                <a:srgbClr val="006600"/>
              </a:buClr>
              <a:buSzPct val="85000"/>
              <a:buFont typeface="Wingdings" charset="0"/>
              <a:buNone/>
            </a:pPr>
            <a:r>
              <a:rPr lang="zh-CN" altLang="en-US" sz="2800" b="1" dirty="0"/>
              <a:t>正视项目实施客观规律，保持信心！</a:t>
            </a:r>
            <a:endParaRPr lang="zh-CN" altLang="en-US" sz="2800" b="1" dirty="0">
              <a:solidFill>
                <a:srgbClr val="FFFFFF"/>
              </a:solidFill>
              <a:latin typeface="微软雅黑" charset="0"/>
              <a:ea typeface="微软雅黑" charset="0"/>
              <a:cs typeface="Arial" charset="0"/>
            </a:endParaRPr>
          </a:p>
        </p:txBody>
      </p:sp>
      <p:grpSp>
        <p:nvGrpSpPr>
          <p:cNvPr id="69" name="组合 68"/>
          <p:cNvGrpSpPr/>
          <p:nvPr/>
        </p:nvGrpSpPr>
        <p:grpSpPr>
          <a:xfrm>
            <a:off x="419894" y="981045"/>
            <a:ext cx="10407567" cy="5640767"/>
            <a:chOff x="344488" y="824234"/>
            <a:chExt cx="8469312" cy="4590258"/>
          </a:xfrm>
        </p:grpSpPr>
        <p:sp>
          <p:nvSpPr>
            <p:cNvPr id="70" name="Rectangle 4"/>
            <p:cNvSpPr>
              <a:spLocks noChangeArrowheads="1"/>
            </p:cNvSpPr>
            <p:nvPr/>
          </p:nvSpPr>
          <p:spPr bwMode="auto">
            <a:xfrm>
              <a:off x="708025" y="1166342"/>
              <a:ext cx="7970838" cy="2289175"/>
            </a:xfrm>
            <a:prstGeom prst="rect">
              <a:avLst/>
            </a:prstGeom>
            <a:gradFill rotWithShape="0">
              <a:gsLst>
                <a:gs pos="0">
                  <a:srgbClr val="3366FF"/>
                </a:gs>
                <a:gs pos="100000">
                  <a:srgbClr val="EAEFFF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zh-CN" altLang="en-US" sz="14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71" name="Rectangle 5"/>
            <p:cNvSpPr>
              <a:spLocks noChangeArrowheads="1"/>
            </p:cNvSpPr>
            <p:nvPr/>
          </p:nvSpPr>
          <p:spPr bwMode="auto">
            <a:xfrm>
              <a:off x="708025" y="3455517"/>
              <a:ext cx="7970838" cy="1949450"/>
            </a:xfrm>
            <a:prstGeom prst="rect">
              <a:avLst/>
            </a:prstGeom>
            <a:gradFill rotWithShape="0">
              <a:gsLst>
                <a:gs pos="0">
                  <a:schemeClr val="accent2">
                    <a:gamma/>
                    <a:tint val="10196"/>
                    <a:invGamma/>
                  </a:schemeClr>
                </a:gs>
                <a:gs pos="100000">
                  <a:schemeClr val="accent2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>
                <a:defRPr/>
              </a:pPr>
              <a:endParaRPr lang="zh-CN" altLang="en-US" sz="1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楷体_GB2312"/>
              </a:endParaRPr>
            </a:p>
          </p:txBody>
        </p:sp>
        <p:sp>
          <p:nvSpPr>
            <p:cNvPr id="72" name="Rectangle 6"/>
            <p:cNvSpPr>
              <a:spLocks noChangeArrowheads="1"/>
            </p:cNvSpPr>
            <p:nvPr/>
          </p:nvSpPr>
          <p:spPr bwMode="auto">
            <a:xfrm>
              <a:off x="854075" y="888529"/>
              <a:ext cx="1404938" cy="349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19050" tIns="26988" rIns="19050" bIns="26988"/>
            <a:lstStyle/>
            <a:p>
              <a:pPr algn="ctr" defTabSz="762000" eaLnBrk="0" hangingPunct="0">
                <a:lnSpc>
                  <a:spcPts val="1900"/>
                </a:lnSpc>
                <a:tabLst>
                  <a:tab pos="355600" algn="l"/>
                  <a:tab pos="711200" algn="l"/>
                  <a:tab pos="1079500" algn="l"/>
                </a:tabLst>
              </a:pPr>
              <a:r>
                <a:rPr lang="zh-CN" altLang="en-US" sz="140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rPr>
                <a:t>乐观</a:t>
              </a:r>
            </a:p>
          </p:txBody>
        </p:sp>
        <p:sp>
          <p:nvSpPr>
            <p:cNvPr id="73" name="Rectangle 7"/>
            <p:cNvSpPr>
              <a:spLocks noChangeArrowheads="1"/>
            </p:cNvSpPr>
            <p:nvPr/>
          </p:nvSpPr>
          <p:spPr bwMode="auto">
            <a:xfrm>
              <a:off x="344488" y="4946179"/>
              <a:ext cx="1657350" cy="349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19050" tIns="26988" rIns="19050" bIns="26988"/>
            <a:lstStyle/>
            <a:p>
              <a:pPr algn="ctr" defTabSz="762000" eaLnBrk="0" hangingPunct="0">
                <a:lnSpc>
                  <a:spcPts val="1900"/>
                </a:lnSpc>
                <a:tabLst>
                  <a:tab pos="355600" algn="l"/>
                  <a:tab pos="711200" algn="l"/>
                  <a:tab pos="1079500" algn="l"/>
                </a:tabLst>
              </a:pPr>
              <a:r>
                <a:rPr lang="zh-CN" altLang="en-US" sz="140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rPr>
                <a:t>悲观</a:t>
              </a:r>
            </a:p>
          </p:txBody>
        </p:sp>
        <p:sp>
          <p:nvSpPr>
            <p:cNvPr id="74" name="Rectangle 8"/>
            <p:cNvSpPr>
              <a:spLocks noChangeArrowheads="1"/>
            </p:cNvSpPr>
            <p:nvPr/>
          </p:nvSpPr>
          <p:spPr bwMode="auto">
            <a:xfrm>
              <a:off x="7912100" y="3606329"/>
              <a:ext cx="841375" cy="3683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19050" tIns="26988" rIns="19050" bIns="26988"/>
            <a:lstStyle/>
            <a:p>
              <a:pPr algn="ctr" defTabSz="762000" eaLnBrk="0" hangingPunct="0">
                <a:lnSpc>
                  <a:spcPts val="1900"/>
                </a:lnSpc>
                <a:tabLst>
                  <a:tab pos="355600" algn="l"/>
                  <a:tab pos="711200" algn="l"/>
                  <a:tab pos="1079500" algn="l"/>
                </a:tabLst>
              </a:pPr>
              <a:r>
                <a:rPr lang="zh-CN" altLang="en-US" sz="140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rPr>
                <a:t>时间</a:t>
              </a:r>
            </a:p>
          </p:txBody>
        </p:sp>
        <p:sp>
          <p:nvSpPr>
            <p:cNvPr id="75" name="Line 9"/>
            <p:cNvSpPr>
              <a:spLocks noChangeShapeType="1"/>
            </p:cNvSpPr>
            <p:nvPr/>
          </p:nvSpPr>
          <p:spPr bwMode="auto">
            <a:xfrm>
              <a:off x="708025" y="3442817"/>
              <a:ext cx="8105775" cy="0"/>
            </a:xfrm>
            <a:prstGeom prst="line">
              <a:avLst/>
            </a:prstGeom>
            <a:noFill/>
            <a:ln w="57150">
              <a:solidFill>
                <a:srgbClr val="FF6600"/>
              </a:solidFill>
              <a:round/>
              <a:headEnd type="none" w="sm" len="sm"/>
              <a:tailEnd type="stealth" w="med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400"/>
            </a:p>
          </p:txBody>
        </p:sp>
        <p:sp>
          <p:nvSpPr>
            <p:cNvPr id="76" name="Line 10"/>
            <p:cNvSpPr>
              <a:spLocks noChangeShapeType="1"/>
            </p:cNvSpPr>
            <p:nvPr/>
          </p:nvSpPr>
          <p:spPr bwMode="auto">
            <a:xfrm flipV="1">
              <a:off x="698500" y="844079"/>
              <a:ext cx="12700" cy="4570413"/>
            </a:xfrm>
            <a:prstGeom prst="line">
              <a:avLst/>
            </a:prstGeom>
            <a:noFill/>
            <a:ln w="57150">
              <a:solidFill>
                <a:srgbClr val="FF6600"/>
              </a:solidFill>
              <a:round/>
              <a:headEnd type="none" w="sm" len="sm"/>
              <a:tailEnd type="stealth" w="med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400"/>
            </a:p>
          </p:txBody>
        </p:sp>
        <p:sp>
          <p:nvSpPr>
            <p:cNvPr id="77" name="Rectangle 11"/>
            <p:cNvSpPr>
              <a:spLocks noChangeArrowheads="1"/>
            </p:cNvSpPr>
            <p:nvPr/>
          </p:nvSpPr>
          <p:spPr bwMode="auto">
            <a:xfrm>
              <a:off x="1247775" y="2077567"/>
              <a:ext cx="1149350" cy="3159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19050" tIns="26988" rIns="19050" bIns="26988"/>
            <a:lstStyle/>
            <a:p>
              <a:pPr algn="ctr" defTabSz="762000" eaLnBrk="0" hangingPunct="0">
                <a:lnSpc>
                  <a:spcPts val="2600"/>
                </a:lnSpc>
                <a:tabLst>
                  <a:tab pos="355600" algn="l"/>
                  <a:tab pos="711200" algn="l"/>
                  <a:tab pos="1079500" algn="l"/>
                </a:tabLst>
              </a:pPr>
              <a:r>
                <a:rPr lang="zh-CN" altLang="en-US" sz="140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rPr>
                <a:t>相信</a:t>
              </a:r>
            </a:p>
            <a:p>
              <a:pPr algn="ctr" defTabSz="762000" eaLnBrk="0" hangingPunct="0">
                <a:lnSpc>
                  <a:spcPts val="2600"/>
                </a:lnSpc>
                <a:tabLst>
                  <a:tab pos="355600" algn="l"/>
                  <a:tab pos="711200" algn="l"/>
                  <a:tab pos="1079500" algn="l"/>
                </a:tabLst>
              </a:pPr>
              <a:r>
                <a:rPr lang="zh-CN" altLang="en-US" sz="140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rPr>
                <a:t>不了解时的自信</a:t>
              </a:r>
              <a:endParaRPr lang="en-US" altLang="zh-CN" sz="14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endParaRPr>
            </a:p>
            <a:p>
              <a:pPr algn="ctr" defTabSz="762000" eaLnBrk="0" hangingPunct="0">
                <a:lnSpc>
                  <a:spcPts val="3000"/>
                </a:lnSpc>
                <a:tabLst>
                  <a:tab pos="355600" algn="l"/>
                  <a:tab pos="711200" algn="l"/>
                  <a:tab pos="1079500" algn="l"/>
                </a:tabLst>
              </a:pPr>
              <a:endParaRPr lang="en-US" altLang="zh-CN" sz="14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78" name="Arc 12"/>
            <p:cNvSpPr>
              <a:spLocks/>
            </p:cNvSpPr>
            <p:nvPr/>
          </p:nvSpPr>
          <p:spPr bwMode="auto">
            <a:xfrm>
              <a:off x="700088" y="1961679"/>
              <a:ext cx="1438275" cy="746125"/>
            </a:xfrm>
            <a:custGeom>
              <a:avLst/>
              <a:gdLst>
                <a:gd name="T0" fmla="*/ 0 w 21600"/>
                <a:gd name="T1" fmla="*/ 2147483647 h 21600"/>
                <a:gd name="T2" fmla="*/ 2147483647 w 21600"/>
                <a:gd name="T3" fmla="*/ 0 h 21600"/>
                <a:gd name="T4" fmla="*/ 2147483647 w 21600"/>
                <a:gd name="T5" fmla="*/ 2147483647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0" y="21600"/>
                  </a:moveTo>
                  <a:cubicBezTo>
                    <a:pt x="0" y="9678"/>
                    <a:pt x="9657" y="11"/>
                    <a:pt x="21579" y="0"/>
                  </a:cubicBezTo>
                </a:path>
                <a:path w="21600" h="21600" stroke="0" extrusionOk="0">
                  <a:moveTo>
                    <a:pt x="0" y="21600"/>
                  </a:moveTo>
                  <a:cubicBezTo>
                    <a:pt x="0" y="9678"/>
                    <a:pt x="9657" y="11"/>
                    <a:pt x="21579" y="0"/>
                  </a:cubicBezTo>
                  <a:lnTo>
                    <a:pt x="21600" y="21600"/>
                  </a:lnTo>
                  <a:lnTo>
                    <a:pt x="0" y="21600"/>
                  </a:lnTo>
                  <a:close/>
                </a:path>
              </a:pathLst>
            </a:custGeom>
            <a:noFill/>
            <a:ln w="76200" cap="rnd">
              <a:solidFill>
                <a:srgbClr val="FF0000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algn="ctr"/>
              <a:endParaRPr lang="zh-CN" altLang="en-US" sz="14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79" name="Arc 13"/>
            <p:cNvSpPr>
              <a:spLocks/>
            </p:cNvSpPr>
            <p:nvPr/>
          </p:nvSpPr>
          <p:spPr bwMode="auto">
            <a:xfrm>
              <a:off x="2124075" y="1964854"/>
              <a:ext cx="927100" cy="1903413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2147483647 h 21600"/>
                <a:gd name="T4" fmla="*/ 0 w 21600"/>
                <a:gd name="T5" fmla="*/ 2147483647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lnTo>
                    <a:pt x="-1" y="0"/>
                  </a:lnTo>
                  <a:close/>
                </a:path>
              </a:pathLst>
            </a:custGeom>
            <a:noFill/>
            <a:ln w="76200" cap="rnd">
              <a:solidFill>
                <a:srgbClr val="FF0000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algn="ctr"/>
              <a:endParaRPr lang="zh-CN" altLang="en-US" sz="14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80" name="Arc 14"/>
            <p:cNvSpPr>
              <a:spLocks/>
            </p:cNvSpPr>
            <p:nvPr/>
          </p:nvSpPr>
          <p:spPr bwMode="auto">
            <a:xfrm>
              <a:off x="3038475" y="3856200"/>
              <a:ext cx="1169988" cy="877888"/>
            </a:xfrm>
            <a:custGeom>
              <a:avLst/>
              <a:gdLst>
                <a:gd name="T0" fmla="*/ 2147483647 w 21600"/>
                <a:gd name="T1" fmla="*/ 2147483647 h 21639"/>
                <a:gd name="T2" fmla="*/ 0 w 21600"/>
                <a:gd name="T3" fmla="*/ 0 h 21639"/>
                <a:gd name="T4" fmla="*/ 2147483647 w 21600"/>
                <a:gd name="T5" fmla="*/ 2147483647 h 21639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39"/>
                <a:gd name="T11" fmla="*/ 21600 w 21600"/>
                <a:gd name="T12" fmla="*/ 21639 h 2163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39" fill="none" extrusionOk="0">
                  <a:moveTo>
                    <a:pt x="21574" y="21638"/>
                  </a:moveTo>
                  <a:cubicBezTo>
                    <a:pt x="9654" y="21624"/>
                    <a:pt x="0" y="11958"/>
                    <a:pt x="0" y="39"/>
                  </a:cubicBezTo>
                  <a:cubicBezTo>
                    <a:pt x="-1" y="26"/>
                    <a:pt x="0" y="13"/>
                    <a:pt x="0" y="0"/>
                  </a:cubicBezTo>
                </a:path>
                <a:path w="21600" h="21639" stroke="0" extrusionOk="0">
                  <a:moveTo>
                    <a:pt x="21574" y="21638"/>
                  </a:moveTo>
                  <a:cubicBezTo>
                    <a:pt x="9654" y="21624"/>
                    <a:pt x="0" y="11958"/>
                    <a:pt x="0" y="39"/>
                  </a:cubicBezTo>
                  <a:cubicBezTo>
                    <a:pt x="-1" y="26"/>
                    <a:pt x="0" y="13"/>
                    <a:pt x="0" y="0"/>
                  </a:cubicBezTo>
                  <a:lnTo>
                    <a:pt x="21600" y="39"/>
                  </a:lnTo>
                  <a:lnTo>
                    <a:pt x="21574" y="21638"/>
                  </a:lnTo>
                  <a:close/>
                </a:path>
              </a:pathLst>
            </a:custGeom>
            <a:noFill/>
            <a:ln w="76200" cap="rnd">
              <a:solidFill>
                <a:srgbClr val="FF0000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algn="ctr"/>
              <a:endParaRPr lang="zh-CN" altLang="en-US" sz="14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81" name="Arc 15"/>
            <p:cNvSpPr>
              <a:spLocks/>
            </p:cNvSpPr>
            <p:nvPr/>
          </p:nvSpPr>
          <p:spPr bwMode="auto">
            <a:xfrm>
              <a:off x="4213225" y="2918942"/>
              <a:ext cx="1773238" cy="1816100"/>
            </a:xfrm>
            <a:custGeom>
              <a:avLst/>
              <a:gdLst>
                <a:gd name="T0" fmla="*/ 2147483647 w 21600"/>
                <a:gd name="T1" fmla="*/ 0 h 21619"/>
                <a:gd name="T2" fmla="*/ 0 w 21600"/>
                <a:gd name="T3" fmla="*/ 2147483647 h 21619"/>
                <a:gd name="T4" fmla="*/ 0 w 21600"/>
                <a:gd name="T5" fmla="*/ 2147483647 h 21619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19"/>
                <a:gd name="T11" fmla="*/ 21600 w 21600"/>
                <a:gd name="T12" fmla="*/ 21619 h 2161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19" fill="none" extrusionOk="0">
                  <a:moveTo>
                    <a:pt x="21599" y="0"/>
                  </a:moveTo>
                  <a:cubicBezTo>
                    <a:pt x="21599" y="6"/>
                    <a:pt x="21600" y="12"/>
                    <a:pt x="21600" y="19"/>
                  </a:cubicBezTo>
                  <a:cubicBezTo>
                    <a:pt x="21600" y="11948"/>
                    <a:pt x="11929" y="21618"/>
                    <a:pt x="0" y="21619"/>
                  </a:cubicBezTo>
                </a:path>
                <a:path w="21600" h="21619" stroke="0" extrusionOk="0">
                  <a:moveTo>
                    <a:pt x="21599" y="0"/>
                  </a:moveTo>
                  <a:cubicBezTo>
                    <a:pt x="21599" y="6"/>
                    <a:pt x="21600" y="12"/>
                    <a:pt x="21600" y="19"/>
                  </a:cubicBezTo>
                  <a:cubicBezTo>
                    <a:pt x="21600" y="11948"/>
                    <a:pt x="11929" y="21618"/>
                    <a:pt x="0" y="21619"/>
                  </a:cubicBezTo>
                  <a:lnTo>
                    <a:pt x="0" y="19"/>
                  </a:lnTo>
                  <a:lnTo>
                    <a:pt x="21599" y="0"/>
                  </a:lnTo>
                  <a:close/>
                </a:path>
              </a:pathLst>
            </a:custGeom>
            <a:noFill/>
            <a:ln w="76200" cap="rnd">
              <a:solidFill>
                <a:srgbClr val="FF0000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algn="ctr"/>
              <a:endParaRPr lang="zh-CN" altLang="en-US" sz="14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82" name="Arc 16"/>
            <p:cNvSpPr>
              <a:spLocks/>
            </p:cNvSpPr>
            <p:nvPr/>
          </p:nvSpPr>
          <p:spPr bwMode="auto">
            <a:xfrm>
              <a:off x="5994400" y="1577504"/>
              <a:ext cx="2014538" cy="1344613"/>
            </a:xfrm>
            <a:custGeom>
              <a:avLst/>
              <a:gdLst>
                <a:gd name="T0" fmla="*/ 0 w 21600"/>
                <a:gd name="T1" fmla="*/ 2147483647 h 21600"/>
                <a:gd name="T2" fmla="*/ 2147483647 w 21600"/>
                <a:gd name="T3" fmla="*/ 0 h 21600"/>
                <a:gd name="T4" fmla="*/ 2147483647 w 21600"/>
                <a:gd name="T5" fmla="*/ 2147483647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0" y="21600"/>
                  </a:moveTo>
                  <a:cubicBezTo>
                    <a:pt x="0" y="9676"/>
                    <a:pt x="9661" y="8"/>
                    <a:pt x="21585" y="0"/>
                  </a:cubicBezTo>
                </a:path>
                <a:path w="21600" h="21600" stroke="0" extrusionOk="0">
                  <a:moveTo>
                    <a:pt x="0" y="21600"/>
                  </a:moveTo>
                  <a:cubicBezTo>
                    <a:pt x="0" y="9676"/>
                    <a:pt x="9661" y="8"/>
                    <a:pt x="21585" y="0"/>
                  </a:cubicBezTo>
                  <a:lnTo>
                    <a:pt x="21600" y="21600"/>
                  </a:lnTo>
                  <a:lnTo>
                    <a:pt x="0" y="21600"/>
                  </a:lnTo>
                  <a:close/>
                </a:path>
              </a:pathLst>
            </a:custGeom>
            <a:noFill/>
            <a:ln w="76200" cap="rnd">
              <a:solidFill>
                <a:srgbClr val="FF0000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algn="ctr"/>
              <a:endParaRPr lang="zh-CN" altLang="en-US" sz="14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83" name="Oval 17"/>
            <p:cNvSpPr>
              <a:spLocks noChangeArrowheads="1"/>
            </p:cNvSpPr>
            <p:nvPr/>
          </p:nvSpPr>
          <p:spPr bwMode="auto">
            <a:xfrm>
              <a:off x="1765300" y="1926754"/>
              <a:ext cx="152400" cy="160338"/>
            </a:xfrm>
            <a:prstGeom prst="ellipse">
              <a:avLst/>
            </a:prstGeom>
            <a:solidFill>
              <a:srgbClr val="FF0000"/>
            </a:solidFill>
            <a:ln w="25400">
              <a:solidFill>
                <a:srgbClr val="00FF0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/>
              <a:endParaRPr lang="zh-CN" altLang="en-US" sz="14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84" name="Oval 18"/>
            <p:cNvSpPr>
              <a:spLocks noChangeArrowheads="1"/>
            </p:cNvSpPr>
            <p:nvPr/>
          </p:nvSpPr>
          <p:spPr bwMode="auto">
            <a:xfrm>
              <a:off x="2932113" y="3734917"/>
              <a:ext cx="152400" cy="160337"/>
            </a:xfrm>
            <a:prstGeom prst="ellipse">
              <a:avLst/>
            </a:prstGeom>
            <a:solidFill>
              <a:srgbClr val="FF0000"/>
            </a:solidFill>
            <a:ln w="25400">
              <a:solidFill>
                <a:srgbClr val="00FF0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/>
              <a:endParaRPr lang="zh-CN" altLang="en-US" sz="14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85" name="Oval 19"/>
            <p:cNvSpPr>
              <a:spLocks noChangeArrowheads="1"/>
            </p:cNvSpPr>
            <p:nvPr/>
          </p:nvSpPr>
          <p:spPr bwMode="auto">
            <a:xfrm>
              <a:off x="7897813" y="1514004"/>
              <a:ext cx="150812" cy="157163"/>
            </a:xfrm>
            <a:prstGeom prst="ellipse">
              <a:avLst/>
            </a:prstGeom>
            <a:solidFill>
              <a:srgbClr val="FF0000"/>
            </a:solidFill>
            <a:ln w="25400">
              <a:solidFill>
                <a:srgbClr val="00FF0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/>
              <a:endParaRPr lang="zh-CN" altLang="en-US" sz="14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86" name="Oval 20"/>
            <p:cNvSpPr>
              <a:spLocks noChangeArrowheads="1"/>
            </p:cNvSpPr>
            <p:nvPr/>
          </p:nvSpPr>
          <p:spPr bwMode="auto">
            <a:xfrm>
              <a:off x="6534150" y="1899767"/>
              <a:ext cx="149225" cy="160337"/>
            </a:xfrm>
            <a:prstGeom prst="ellipse">
              <a:avLst/>
            </a:prstGeom>
            <a:solidFill>
              <a:srgbClr val="FF0000"/>
            </a:solidFill>
            <a:ln w="25400">
              <a:solidFill>
                <a:srgbClr val="00FF0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/>
              <a:endParaRPr lang="zh-CN" altLang="en-US" sz="14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87" name="Oval 21"/>
            <p:cNvSpPr>
              <a:spLocks noChangeArrowheads="1"/>
            </p:cNvSpPr>
            <p:nvPr/>
          </p:nvSpPr>
          <p:spPr bwMode="auto">
            <a:xfrm>
              <a:off x="5867400" y="3344392"/>
              <a:ext cx="152400" cy="158750"/>
            </a:xfrm>
            <a:prstGeom prst="ellipse">
              <a:avLst/>
            </a:prstGeom>
            <a:solidFill>
              <a:srgbClr val="FF0000"/>
            </a:solidFill>
            <a:ln w="25400">
              <a:solidFill>
                <a:srgbClr val="00FF0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/>
              <a:endParaRPr lang="zh-CN" altLang="en-US" sz="14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88" name="Rectangle 22"/>
            <p:cNvSpPr>
              <a:spLocks noChangeArrowheads="1"/>
            </p:cNvSpPr>
            <p:nvPr/>
          </p:nvSpPr>
          <p:spPr bwMode="auto">
            <a:xfrm>
              <a:off x="5678488" y="3542829"/>
              <a:ext cx="930275" cy="8636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19050" tIns="26988" rIns="19050" bIns="26988"/>
            <a:lstStyle/>
            <a:p>
              <a:pPr algn="ctr" defTabSz="762000" eaLnBrk="0" hangingPunct="0">
                <a:lnSpc>
                  <a:spcPts val="2600"/>
                </a:lnSpc>
                <a:tabLst>
                  <a:tab pos="355600" algn="l"/>
                  <a:tab pos="711200" algn="l"/>
                  <a:tab pos="1079500" algn="l"/>
                </a:tabLst>
              </a:pPr>
              <a:r>
                <a:rPr lang="zh-CN" altLang="en-US" sz="140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rPr>
                <a:t>希望</a:t>
              </a:r>
            </a:p>
            <a:p>
              <a:pPr algn="ctr" defTabSz="762000" eaLnBrk="0" hangingPunct="0">
                <a:lnSpc>
                  <a:spcPts val="2600"/>
                </a:lnSpc>
                <a:tabLst>
                  <a:tab pos="355600" algn="l"/>
                  <a:tab pos="711200" algn="l"/>
                  <a:tab pos="1079500" algn="l"/>
                </a:tabLst>
              </a:pPr>
              <a:r>
                <a:rPr lang="zh-CN" altLang="en-US" sz="140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rPr>
                <a:t>深入了解过程中的乐观</a:t>
              </a:r>
              <a:endParaRPr lang="en-US" altLang="zh-CN" sz="14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89" name="Rectangle 23"/>
            <p:cNvSpPr>
              <a:spLocks noChangeArrowheads="1"/>
            </p:cNvSpPr>
            <p:nvPr/>
          </p:nvSpPr>
          <p:spPr bwMode="auto">
            <a:xfrm>
              <a:off x="4743450" y="1669579"/>
              <a:ext cx="1219200" cy="3159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19050" tIns="26988" rIns="19050" bIns="26988"/>
            <a:lstStyle/>
            <a:p>
              <a:pPr algn="ctr" defTabSz="762000" eaLnBrk="0" hangingPunct="0">
                <a:lnSpc>
                  <a:spcPts val="2600"/>
                </a:lnSpc>
                <a:tabLst>
                  <a:tab pos="355600" algn="l"/>
                  <a:tab pos="711200" algn="l"/>
                  <a:tab pos="1079500" algn="l"/>
                </a:tabLst>
              </a:pPr>
              <a:r>
                <a:rPr lang="zh-CN" altLang="en-US" sz="140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rPr>
                <a:t>自信</a:t>
              </a:r>
            </a:p>
            <a:p>
              <a:pPr algn="ctr" defTabSz="762000" eaLnBrk="0" hangingPunct="0">
                <a:lnSpc>
                  <a:spcPts val="2600"/>
                </a:lnSpc>
                <a:tabLst>
                  <a:tab pos="355600" algn="l"/>
                  <a:tab pos="711200" algn="l"/>
                  <a:tab pos="1079500" algn="l"/>
                </a:tabLst>
              </a:pPr>
              <a:r>
                <a:rPr lang="zh-CN" altLang="en-US" sz="140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rPr>
                <a:t>确信的乐观</a:t>
              </a:r>
              <a:endParaRPr lang="en-US" altLang="zh-CN" sz="14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90" name="Rectangle 24"/>
            <p:cNvSpPr>
              <a:spLocks noChangeArrowheads="1"/>
            </p:cNvSpPr>
            <p:nvPr/>
          </p:nvSpPr>
          <p:spPr bwMode="auto">
            <a:xfrm>
              <a:off x="6975475" y="1664817"/>
              <a:ext cx="1509713" cy="3143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19050" tIns="26988" rIns="19050" bIns="26988"/>
            <a:lstStyle/>
            <a:p>
              <a:pPr algn="ctr" defTabSz="762000" eaLnBrk="0" hangingPunct="0">
                <a:lnSpc>
                  <a:spcPts val="2600"/>
                </a:lnSpc>
                <a:tabLst>
                  <a:tab pos="355600" algn="l"/>
                  <a:tab pos="711200" algn="l"/>
                  <a:tab pos="1079500" algn="l"/>
                </a:tabLst>
              </a:pPr>
              <a:r>
                <a:rPr lang="zh-CN" altLang="en-US" sz="140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rPr>
                <a:t>满意</a:t>
              </a:r>
            </a:p>
            <a:p>
              <a:pPr algn="ctr" defTabSz="762000" eaLnBrk="0" hangingPunct="0">
                <a:lnSpc>
                  <a:spcPts val="2600"/>
                </a:lnSpc>
                <a:tabLst>
                  <a:tab pos="355600" algn="l"/>
                  <a:tab pos="711200" algn="l"/>
                  <a:tab pos="1079500" algn="l"/>
                </a:tabLst>
              </a:pPr>
              <a:r>
                <a:rPr lang="zh-CN" altLang="en-US" sz="140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rPr>
                <a:t>成功</a:t>
              </a:r>
              <a:endParaRPr lang="en-US" altLang="zh-CN" sz="14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pic>
          <p:nvPicPr>
            <p:cNvPr id="91" name="Picture 25"/>
            <p:cNvPicPr>
              <a:picLocks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30950" y="1202854"/>
              <a:ext cx="434975" cy="7239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92" name="Rectangle 26"/>
            <p:cNvSpPr>
              <a:spLocks noChangeArrowheads="1"/>
            </p:cNvSpPr>
            <p:nvPr/>
          </p:nvSpPr>
          <p:spPr bwMode="auto">
            <a:xfrm>
              <a:off x="2151063" y="3830167"/>
              <a:ext cx="882650" cy="7921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19050" tIns="26988" rIns="19050" bIns="26988"/>
            <a:lstStyle/>
            <a:p>
              <a:pPr algn="ctr" defTabSz="762000" eaLnBrk="0" hangingPunct="0">
                <a:lnSpc>
                  <a:spcPts val="2600"/>
                </a:lnSpc>
                <a:tabLst>
                  <a:tab pos="355600" algn="l"/>
                  <a:tab pos="711200" algn="l"/>
                  <a:tab pos="1079500" algn="l"/>
                </a:tabLst>
              </a:pPr>
              <a:r>
                <a:rPr lang="zh-CN" altLang="en-US" sz="140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rPr>
                <a:t>疑虑</a:t>
              </a:r>
            </a:p>
            <a:p>
              <a:pPr algn="ctr" defTabSz="762000" eaLnBrk="0" hangingPunct="0">
                <a:lnSpc>
                  <a:spcPts val="2600"/>
                </a:lnSpc>
                <a:tabLst>
                  <a:tab pos="355600" algn="l"/>
                  <a:tab pos="711200" algn="l"/>
                  <a:tab pos="1079500" algn="l"/>
                </a:tabLst>
              </a:pPr>
              <a:r>
                <a:rPr lang="zh-CN" altLang="en-US" sz="140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rPr>
                <a:t>逐渐了解过程中的悲观</a:t>
              </a:r>
            </a:p>
          </p:txBody>
        </p:sp>
        <p:pic>
          <p:nvPicPr>
            <p:cNvPr id="93" name="Picture 28"/>
            <p:cNvPicPr>
              <a:picLocks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61025" y="2630017"/>
              <a:ext cx="447675" cy="7239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4" name="Picture 29"/>
            <p:cNvPicPr>
              <a:picLocks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66875" y="1204442"/>
              <a:ext cx="482600" cy="7239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5" name="Picture 30"/>
            <p:cNvPicPr>
              <a:picLocks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65231" y="824234"/>
              <a:ext cx="395288" cy="7191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96" name="Rectangle 32"/>
            <p:cNvSpPr>
              <a:spLocks noChangeArrowheads="1"/>
            </p:cNvSpPr>
            <p:nvPr/>
          </p:nvSpPr>
          <p:spPr bwMode="auto">
            <a:xfrm>
              <a:off x="854075" y="2750667"/>
              <a:ext cx="2089150" cy="7461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075" tIns="46038" rIns="92075" bIns="46038"/>
            <a:lstStyle/>
            <a:p>
              <a:pPr marL="100013" indent="-100013" eaLnBrk="0" hangingPunct="0">
                <a:buSzPct val="100000"/>
                <a:buFontTx/>
                <a:buChar char="•"/>
              </a:pPr>
              <a:r>
                <a:rPr lang="zh-CN" altLang="en-US" sz="140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rPr>
                <a:t>蜜月期</a:t>
              </a:r>
              <a:endParaRPr lang="en-US" altLang="zh-CN" sz="14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endParaRPr>
            </a:p>
            <a:p>
              <a:pPr marL="100013" indent="-100013" eaLnBrk="0" hangingPunct="0">
                <a:buSzPct val="100000"/>
                <a:buFontTx/>
                <a:buChar char="•"/>
              </a:pPr>
              <a:r>
                <a:rPr lang="zh-CN" altLang="en-US" sz="140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rPr>
                <a:t>期望没有与理论结合</a:t>
              </a:r>
            </a:p>
            <a:p>
              <a:pPr marL="100013" indent="-100013" eaLnBrk="0" hangingPunct="0">
                <a:buSzPct val="100000"/>
                <a:buFontTx/>
                <a:buChar char="•"/>
              </a:pPr>
              <a:r>
                <a:rPr lang="zh-CN" altLang="en-US" sz="140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rPr>
                <a:t>主要困难看似可以掌控</a:t>
              </a:r>
              <a:endParaRPr lang="en-US" altLang="zh-CN" sz="14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97" name="Rectangle 33"/>
            <p:cNvSpPr>
              <a:spLocks noChangeArrowheads="1"/>
            </p:cNvSpPr>
            <p:nvPr/>
          </p:nvSpPr>
          <p:spPr bwMode="auto">
            <a:xfrm>
              <a:off x="1514475" y="4523904"/>
              <a:ext cx="2008188" cy="7461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075" tIns="46038" rIns="92075" bIns="46038"/>
            <a:lstStyle/>
            <a:p>
              <a:pPr marL="100013" indent="-100013" eaLnBrk="0" hangingPunct="0">
                <a:buSzPct val="100000"/>
                <a:buFontTx/>
                <a:buChar char="•"/>
              </a:pPr>
              <a:r>
                <a:rPr lang="zh-CN" altLang="en-US" sz="140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rPr>
                <a:t>问题越来越多的出现</a:t>
              </a:r>
              <a:endParaRPr lang="en-US" altLang="zh-CN" sz="14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endParaRPr>
            </a:p>
            <a:p>
              <a:pPr marL="100013" indent="-100013" eaLnBrk="0" hangingPunct="0">
                <a:buSzPct val="100000"/>
                <a:buFontTx/>
                <a:buChar char="•"/>
              </a:pPr>
              <a:r>
                <a:rPr lang="zh-CN" altLang="en-US" sz="140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rPr>
                <a:t>解决方案不易寻找</a:t>
              </a:r>
            </a:p>
            <a:p>
              <a:pPr marL="100013" indent="-100013" eaLnBrk="0" hangingPunct="0">
                <a:buSzPct val="100000"/>
                <a:buFontTx/>
                <a:buChar char="•"/>
              </a:pPr>
              <a:r>
                <a:rPr lang="zh-CN" altLang="en-US" sz="140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rPr>
                <a:t>动力下降</a:t>
              </a:r>
            </a:p>
          </p:txBody>
        </p:sp>
        <p:sp>
          <p:nvSpPr>
            <p:cNvPr id="98" name="Rectangle 34"/>
            <p:cNvSpPr>
              <a:spLocks noChangeArrowheads="1"/>
            </p:cNvSpPr>
            <p:nvPr/>
          </p:nvSpPr>
          <p:spPr bwMode="auto">
            <a:xfrm>
              <a:off x="5254625" y="4261967"/>
              <a:ext cx="1893888" cy="51276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075" tIns="46038" rIns="92075" bIns="46038"/>
            <a:lstStyle/>
            <a:p>
              <a:pPr marL="100013" indent="-100013" eaLnBrk="0" hangingPunct="0">
                <a:buSzPct val="100000"/>
                <a:buFontTx/>
                <a:buChar char="•"/>
              </a:pPr>
              <a:r>
                <a:rPr lang="zh-CN" altLang="en-US" sz="1400" dirty="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rPr>
                <a:t>初步成果展现</a:t>
              </a:r>
              <a:endParaRPr lang="en-US" altLang="zh-CN" sz="14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endParaRPr>
            </a:p>
            <a:p>
              <a:pPr marL="100013" indent="-100013" eaLnBrk="0" hangingPunct="0">
                <a:buSzPct val="100000"/>
                <a:buFontTx/>
                <a:buChar char="•"/>
              </a:pPr>
              <a:r>
                <a:rPr lang="zh-CN" altLang="en-US" sz="1400" dirty="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rPr>
                <a:t>还存在问题但可以解决</a:t>
              </a:r>
              <a:endParaRPr lang="en-US" altLang="zh-CN" sz="14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99" name="Rectangle 35"/>
            <p:cNvSpPr>
              <a:spLocks noChangeArrowheads="1"/>
            </p:cNvSpPr>
            <p:nvPr/>
          </p:nvSpPr>
          <p:spPr bwMode="auto">
            <a:xfrm>
              <a:off x="4462463" y="2317279"/>
              <a:ext cx="2152650" cy="7461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075" tIns="46038" rIns="92075" bIns="46038"/>
            <a:lstStyle/>
            <a:p>
              <a:pPr marL="100013" indent="-100013" eaLnBrk="0" hangingPunct="0">
                <a:buSzPct val="100000"/>
                <a:buFontTx/>
                <a:buChar char="•"/>
              </a:pPr>
              <a:r>
                <a:rPr lang="zh-CN" altLang="en-US" sz="140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rPr>
                <a:t>乐观情绪增强</a:t>
              </a:r>
              <a:endParaRPr lang="en-US" altLang="zh-CN" sz="14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endParaRPr>
            </a:p>
            <a:p>
              <a:pPr marL="100013" indent="-100013" eaLnBrk="0" hangingPunct="0">
                <a:buSzPct val="100000"/>
                <a:buFontTx/>
                <a:buChar char="•"/>
              </a:pPr>
              <a:r>
                <a:rPr lang="zh-CN" altLang="en-US" sz="140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rPr>
                <a:t>新的能量释放</a:t>
              </a:r>
              <a:endParaRPr lang="en-US" altLang="zh-CN" sz="14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00" name="Rectangle 36"/>
            <p:cNvSpPr>
              <a:spLocks noChangeArrowheads="1"/>
            </p:cNvSpPr>
            <p:nvPr/>
          </p:nvSpPr>
          <p:spPr bwMode="auto">
            <a:xfrm>
              <a:off x="7046913" y="2497297"/>
              <a:ext cx="1438275" cy="3143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075" tIns="46038" rIns="92075" bIns="46038"/>
            <a:lstStyle/>
            <a:p>
              <a:pPr marL="100013" indent="-100013" eaLnBrk="0" hangingPunct="0">
                <a:buSzPct val="100000"/>
                <a:buFontTx/>
                <a:buChar char="•"/>
              </a:pPr>
              <a:r>
                <a:rPr lang="zh-CN" altLang="en-US" sz="1400" dirty="0">
                  <a:solidFill>
                    <a:schemeClr val="tx1"/>
                  </a:solidFill>
                  <a:latin typeface="微软雅黑" pitchFamily="34" charset="-122"/>
                  <a:ea typeface="微软雅黑" pitchFamily="34" charset="-122"/>
                </a:rPr>
                <a:t>预期目标实现</a:t>
              </a:r>
              <a:endParaRPr lang="en-US" altLang="zh-CN" sz="14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endParaRPr>
            </a:p>
            <a:p>
              <a:pPr marL="100013" indent="-100013" eaLnBrk="0" hangingPunct="0">
                <a:buSzPct val="100000"/>
              </a:pPr>
              <a:endParaRPr lang="en-US" altLang="zh-CN" sz="14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01" name="Rectangle 37"/>
            <p:cNvSpPr>
              <a:spLocks noChangeArrowheads="1"/>
            </p:cNvSpPr>
            <p:nvPr/>
          </p:nvSpPr>
          <p:spPr bwMode="auto">
            <a:xfrm>
              <a:off x="3446241" y="3466551"/>
              <a:ext cx="1081087" cy="250981"/>
            </a:xfrm>
            <a:prstGeom prst="rect">
              <a:avLst/>
            </a:prstGeom>
            <a:gradFill rotWithShape="1">
              <a:gsLst>
                <a:gs pos="0">
                  <a:srgbClr val="EAEAEA"/>
                </a:gs>
                <a:gs pos="100000">
                  <a:srgbClr val="F5F5F5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chemeClr val="accent1">
                  <a:alpha val="50000"/>
                </a:schemeClr>
              </a:outerShdw>
            </a:effectLst>
          </p:spPr>
          <p:txBody>
            <a:bodyPr lIns="92075" tIns="46038" rIns="92075" bIns="46038">
              <a:spAutoFit/>
            </a:bodyPr>
            <a:lstStyle/>
            <a:p>
              <a:pPr algn="ctr" eaLnBrk="0" hangingPunct="0">
                <a:spcBef>
                  <a:spcPct val="50000"/>
                </a:spcBef>
                <a:buClr>
                  <a:srgbClr val="00CC00"/>
                </a:buClr>
                <a:buSzPct val="120000"/>
                <a:buFontTx/>
                <a:buChar char="•"/>
                <a:defRPr/>
              </a:pPr>
              <a:r>
                <a:rPr lang="en-GB" altLang="zh-CN" sz="14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楷体_GB2312"/>
                </a:rPr>
                <a:t> </a:t>
              </a:r>
              <a:r>
                <a:rPr lang="zh-CN" altLang="en-GB" sz="14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楷体_GB2312"/>
                </a:rPr>
                <a:t>现状分析</a:t>
              </a:r>
            </a:p>
          </p:txBody>
        </p:sp>
        <p:sp>
          <p:nvSpPr>
            <p:cNvPr id="102" name="Rectangle 38"/>
            <p:cNvSpPr>
              <a:spLocks noChangeArrowheads="1"/>
            </p:cNvSpPr>
            <p:nvPr/>
          </p:nvSpPr>
          <p:spPr bwMode="auto">
            <a:xfrm>
              <a:off x="3735388" y="4838229"/>
              <a:ext cx="1152525" cy="307975"/>
            </a:xfrm>
            <a:prstGeom prst="rect">
              <a:avLst/>
            </a:prstGeom>
            <a:gradFill rotWithShape="1">
              <a:gsLst>
                <a:gs pos="0">
                  <a:srgbClr val="EAEAEA"/>
                </a:gs>
                <a:gs pos="100000">
                  <a:srgbClr val="F5F5F5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chemeClr val="accent1">
                  <a:alpha val="50000"/>
                </a:schemeClr>
              </a:outerShdw>
            </a:effectLst>
          </p:spPr>
          <p:txBody>
            <a:bodyPr lIns="92075" tIns="46038" rIns="92075" bIns="46038">
              <a:spAutoFit/>
            </a:bodyPr>
            <a:lstStyle/>
            <a:p>
              <a:pPr algn="ctr" eaLnBrk="0" hangingPunct="0">
                <a:spcBef>
                  <a:spcPct val="50000"/>
                </a:spcBef>
                <a:buClr>
                  <a:srgbClr val="00CC00"/>
                </a:buClr>
                <a:buSzPct val="120000"/>
                <a:buFontTx/>
                <a:buChar char="•"/>
                <a:defRPr/>
              </a:pPr>
              <a:r>
                <a:rPr lang="zh-CN" altLang="en-GB" sz="14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楷体_GB2312"/>
                </a:rPr>
                <a:t>蓝图设计</a:t>
              </a:r>
              <a:endParaRPr lang="en-GB" altLang="zh-CN" sz="1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楷体_GB2312"/>
              </a:endParaRPr>
            </a:p>
          </p:txBody>
        </p:sp>
        <p:pic>
          <p:nvPicPr>
            <p:cNvPr id="103" name="Picture 27"/>
            <p:cNvPicPr>
              <a:picLocks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92450" y="3145954"/>
              <a:ext cx="428625" cy="7239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4" name="Rectangle 39"/>
            <p:cNvSpPr>
              <a:spLocks noChangeArrowheads="1"/>
            </p:cNvSpPr>
            <p:nvPr/>
          </p:nvSpPr>
          <p:spPr bwMode="auto">
            <a:xfrm>
              <a:off x="6543675" y="4190529"/>
              <a:ext cx="1152525" cy="307975"/>
            </a:xfrm>
            <a:prstGeom prst="rect">
              <a:avLst/>
            </a:prstGeom>
            <a:gradFill rotWithShape="1">
              <a:gsLst>
                <a:gs pos="0">
                  <a:srgbClr val="EAEAEA"/>
                </a:gs>
                <a:gs pos="100000">
                  <a:srgbClr val="F5F5F5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chemeClr val="accent1">
                  <a:alpha val="50000"/>
                </a:schemeClr>
              </a:outerShdw>
            </a:effectLst>
          </p:spPr>
          <p:txBody>
            <a:bodyPr lIns="92075" tIns="46038" rIns="92075" bIns="46038">
              <a:spAutoFit/>
            </a:bodyPr>
            <a:lstStyle/>
            <a:p>
              <a:pPr algn="ctr" eaLnBrk="0" hangingPunct="0">
                <a:spcBef>
                  <a:spcPct val="50000"/>
                </a:spcBef>
                <a:buClr>
                  <a:srgbClr val="00CC00"/>
                </a:buClr>
                <a:buSzPct val="120000"/>
                <a:buFontTx/>
                <a:buChar char="•"/>
                <a:defRPr/>
              </a:pPr>
              <a:r>
                <a:rPr lang="zh-CN" altLang="en-GB" sz="14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楷体_GB2312"/>
                </a:rPr>
                <a:t>系统实现</a:t>
              </a:r>
            </a:p>
          </p:txBody>
        </p:sp>
        <p:sp>
          <p:nvSpPr>
            <p:cNvPr id="105" name="Rectangle 40"/>
            <p:cNvSpPr>
              <a:spLocks noChangeArrowheads="1"/>
            </p:cNvSpPr>
            <p:nvPr/>
          </p:nvSpPr>
          <p:spPr bwMode="auto">
            <a:xfrm>
              <a:off x="6399213" y="3041179"/>
              <a:ext cx="1368425" cy="307975"/>
            </a:xfrm>
            <a:prstGeom prst="rect">
              <a:avLst/>
            </a:prstGeom>
            <a:gradFill rotWithShape="1">
              <a:gsLst>
                <a:gs pos="0">
                  <a:srgbClr val="EAEAEA"/>
                </a:gs>
                <a:gs pos="100000">
                  <a:srgbClr val="F5F5F5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chemeClr val="accent1">
                  <a:alpha val="50000"/>
                </a:schemeClr>
              </a:outerShdw>
            </a:effectLst>
          </p:spPr>
          <p:txBody>
            <a:bodyPr lIns="92075" tIns="46038" rIns="92075" bIns="46038">
              <a:spAutoFit/>
            </a:bodyPr>
            <a:lstStyle/>
            <a:p>
              <a:pPr algn="ctr" eaLnBrk="0" hangingPunct="0">
                <a:spcBef>
                  <a:spcPct val="50000"/>
                </a:spcBef>
                <a:buClr>
                  <a:srgbClr val="00CC00"/>
                </a:buClr>
                <a:buSzPct val="120000"/>
                <a:buFontTx/>
                <a:buChar char="•"/>
                <a:defRPr/>
              </a:pPr>
              <a:r>
                <a:rPr lang="zh-CN" altLang="en-GB" sz="14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楷体_GB2312"/>
                </a:rPr>
                <a:t>用户接受测试</a:t>
              </a:r>
            </a:p>
          </p:txBody>
        </p:sp>
        <p:sp>
          <p:nvSpPr>
            <p:cNvPr id="106" name="Rectangle 41"/>
            <p:cNvSpPr>
              <a:spLocks noChangeArrowheads="1"/>
            </p:cNvSpPr>
            <p:nvPr/>
          </p:nvSpPr>
          <p:spPr bwMode="auto">
            <a:xfrm>
              <a:off x="6470650" y="2174404"/>
              <a:ext cx="1152525" cy="307975"/>
            </a:xfrm>
            <a:prstGeom prst="rect">
              <a:avLst/>
            </a:prstGeom>
            <a:gradFill rotWithShape="1">
              <a:gsLst>
                <a:gs pos="0">
                  <a:srgbClr val="EAEAEA"/>
                </a:gs>
                <a:gs pos="100000">
                  <a:srgbClr val="F5F5F5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chemeClr val="accent1">
                  <a:alpha val="50000"/>
                </a:schemeClr>
              </a:outerShdw>
            </a:effectLst>
          </p:spPr>
          <p:txBody>
            <a:bodyPr lIns="92075" tIns="46038" rIns="92075" bIns="46038">
              <a:spAutoFit/>
            </a:bodyPr>
            <a:lstStyle/>
            <a:p>
              <a:pPr algn="ctr" eaLnBrk="0" hangingPunct="0">
                <a:spcBef>
                  <a:spcPct val="50000"/>
                </a:spcBef>
                <a:buClr>
                  <a:srgbClr val="00CC00"/>
                </a:buClr>
                <a:buSzPct val="120000"/>
                <a:buFontTx/>
                <a:buChar char="•"/>
                <a:defRPr/>
              </a:pPr>
              <a:r>
                <a:rPr lang="zh-CN" altLang="en-GB" sz="14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楷体_GB2312"/>
                </a:rPr>
                <a:t>上线准备</a:t>
              </a:r>
            </a:p>
          </p:txBody>
        </p:sp>
      </p:grpSp>
      <p:sp>
        <p:nvSpPr>
          <p:cNvPr id="41" name="矩形 5"/>
          <p:cNvSpPr>
            <a:spLocks noChangeArrowheads="1"/>
          </p:cNvSpPr>
          <p:nvPr/>
        </p:nvSpPr>
        <p:spPr bwMode="auto">
          <a:xfrm>
            <a:off x="259552" y="563884"/>
            <a:ext cx="11700778" cy="576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893" tIns="60947" rIns="121893" bIns="60947" anchor="ctr"/>
          <a:lstStyle/>
          <a:p>
            <a:pPr marL="228551" indent="-228551" defTabSz="1218987">
              <a:buFont typeface="Arial" pitchFamily="34" charset="0"/>
              <a:buChar char="•"/>
            </a:pPr>
            <a:r>
              <a:rPr lang="zh-CN" altLang="en-US" sz="2000" dirty="0">
                <a:solidFill>
                  <a:schemeClr val="tx1"/>
                </a:solidFill>
              </a:rPr>
              <a:t>要达到全用户、全范围最终的满意和最终的成功，是一个长期的往复的渐进的过程。</a:t>
            </a:r>
            <a:endParaRPr lang="en-US" altLang="zh-CN" sz="2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176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>
            <a:extLst>
              <a:ext uri="{FF2B5EF4-FFF2-40B4-BE49-F238E27FC236}">
                <a16:creationId xmlns:a16="http://schemas.microsoft.com/office/drawing/2014/main" id="{06096E3C-E277-49B0-8899-461EEF311811}"/>
              </a:ext>
            </a:extLst>
          </p:cNvPr>
          <p:cNvSpPr/>
          <p:nvPr/>
        </p:nvSpPr>
        <p:spPr>
          <a:xfrm>
            <a:off x="9623" y="2539578"/>
            <a:ext cx="12182378" cy="1742293"/>
          </a:xfrm>
          <a:prstGeom prst="rect">
            <a:avLst/>
          </a:prstGeom>
          <a:solidFill>
            <a:srgbClr val="1F497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668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4010" kern="0" dirty="0">
                <a:solidFill>
                  <a:prstClr val="white"/>
                </a:solidFill>
                <a:latin typeface="+mn-lt"/>
                <a:ea typeface="+mn-ea"/>
                <a:cs typeface="+mn-ea"/>
                <a:sym typeface="+mn-lt"/>
              </a:rPr>
              <a:t>  谢谢！</a:t>
            </a:r>
          </a:p>
        </p:txBody>
      </p:sp>
    </p:spTree>
    <p:extLst>
      <p:ext uri="{BB962C8B-B14F-4D97-AF65-F5344CB8AC3E}">
        <p14:creationId xmlns:p14="http://schemas.microsoft.com/office/powerpoint/2010/main" val="18293109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Snip Single Corner Rectangle 1">
            <a:extLst>
              <a:ext uri="{FF2B5EF4-FFF2-40B4-BE49-F238E27FC236}">
                <a16:creationId xmlns:a16="http://schemas.microsoft.com/office/drawing/2014/main" id="{1B8DA832-4D79-4ACB-9498-C1C3A2389587}"/>
              </a:ext>
            </a:extLst>
          </p:cNvPr>
          <p:cNvSpPr/>
          <p:nvPr/>
        </p:nvSpPr>
        <p:spPr>
          <a:xfrm>
            <a:off x="5699545" y="1117219"/>
            <a:ext cx="4103030" cy="4623563"/>
          </a:xfrm>
          <a:prstGeom prst="snip1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62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+mn-lt"/>
            </a:endParaRPr>
          </a:p>
        </p:txBody>
      </p:sp>
      <p:sp>
        <p:nvSpPr>
          <p:cNvPr id="37" name="文本框 36">
            <a:extLst>
              <a:ext uri="{FF2B5EF4-FFF2-40B4-BE49-F238E27FC236}">
                <a16:creationId xmlns:a16="http://schemas.microsoft.com/office/drawing/2014/main" id="{C859053A-13D3-4FCA-A08E-7E5BA16AEB8A}"/>
              </a:ext>
            </a:extLst>
          </p:cNvPr>
          <p:cNvSpPr txBox="1"/>
          <p:nvPr/>
        </p:nvSpPr>
        <p:spPr>
          <a:xfrm>
            <a:off x="5980738" y="1305936"/>
            <a:ext cx="3440298" cy="9092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4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ea"/>
                <a:sym typeface="+mn-lt"/>
              </a:rPr>
              <a:t>CONTENT</a:t>
            </a:r>
            <a:endParaRPr kumimoji="0" lang="zh-CN" altLang="en-US" sz="4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ea"/>
              <a:sym typeface="+mn-lt"/>
            </a:endParaRPr>
          </a:p>
        </p:txBody>
      </p:sp>
      <p:grpSp>
        <p:nvGrpSpPr>
          <p:cNvPr id="38" name="组合 37"/>
          <p:cNvGrpSpPr/>
          <p:nvPr/>
        </p:nvGrpSpPr>
        <p:grpSpPr>
          <a:xfrm>
            <a:off x="6133241" y="2466840"/>
            <a:ext cx="2895971" cy="478190"/>
            <a:chOff x="6133241" y="2397575"/>
            <a:chExt cx="2895971" cy="478190"/>
          </a:xfrm>
        </p:grpSpPr>
        <p:sp>
          <p:nvSpPr>
            <p:cNvPr id="48" name="矩形 47">
              <a:extLst>
                <a:ext uri="{FF2B5EF4-FFF2-40B4-BE49-F238E27FC236}">
                  <a16:creationId xmlns:a16="http://schemas.microsoft.com/office/drawing/2014/main" id="{0C7776B2-53A7-49EF-8BD0-2DC16EFD5DF5}"/>
                </a:ext>
              </a:extLst>
            </p:cNvPr>
            <p:cNvSpPr/>
            <p:nvPr/>
          </p:nvSpPr>
          <p:spPr>
            <a:xfrm>
              <a:off x="6133241" y="2397575"/>
              <a:ext cx="478190" cy="478190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宋体" panose="02010600030101010101" pitchFamily="2" charset="-122"/>
                  <a:cs typeface="+mn-ea"/>
                  <a:sym typeface="+mn-lt"/>
                </a:rPr>
                <a:t>01</a:t>
              </a:r>
              <a:endPara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ea"/>
                <a:sym typeface="+mn-lt"/>
              </a:endParaRPr>
            </a:p>
          </p:txBody>
        </p:sp>
        <p:sp>
          <p:nvSpPr>
            <p:cNvPr id="49" name="文本框 48">
              <a:extLst>
                <a:ext uri="{FF2B5EF4-FFF2-40B4-BE49-F238E27FC236}">
                  <a16:creationId xmlns:a16="http://schemas.microsoft.com/office/drawing/2014/main" id="{00E6B6B6-8E62-4FA0-9E42-42C49397665B}"/>
                </a:ext>
              </a:extLst>
            </p:cNvPr>
            <p:cNvSpPr txBox="1"/>
            <p:nvPr/>
          </p:nvSpPr>
          <p:spPr>
            <a:xfrm>
              <a:off x="6691713" y="2410454"/>
              <a:ext cx="2337499" cy="41735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方正兰亭纤黑简体" panose="02000000000000000000" pitchFamily="2" charset="-122"/>
                  <a:ea typeface="方正兰亭纤黑简体" panose="02000000000000000000" pitchFamily="2" charset="-122"/>
                  <a:cs typeface="+mn-ea"/>
                  <a:sym typeface="+mn-lt"/>
                </a:rPr>
                <a:t>项目介绍       </a:t>
              </a:r>
              <a:r>
                <a:rPr kumimoji="0" lang="en-US" altLang="zh-CN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方正兰亭纤黑简体" panose="02000000000000000000" pitchFamily="2" charset="-122"/>
                  <a:ea typeface="方正兰亭纤黑简体" panose="02000000000000000000" pitchFamily="2" charset="-122"/>
                  <a:cs typeface="+mn-ea"/>
                  <a:sym typeface="+mn-lt"/>
                </a:rPr>
                <a:t>20</a:t>
              </a:r>
              <a:r>
                <a:rPr kumimoji="0" lang="zh-CN" alt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方正兰亭纤黑简体" panose="02000000000000000000" pitchFamily="2" charset="-122"/>
                  <a:ea typeface="方正兰亭纤黑简体" panose="02000000000000000000" pitchFamily="2" charset="-122"/>
                  <a:cs typeface="+mn-ea"/>
                  <a:sym typeface="+mn-lt"/>
                </a:rPr>
                <a:t>分钟</a:t>
              </a:r>
            </a:p>
          </p:txBody>
        </p:sp>
      </p:grpSp>
      <p:grpSp>
        <p:nvGrpSpPr>
          <p:cNvPr id="39" name="组合 38"/>
          <p:cNvGrpSpPr/>
          <p:nvPr/>
        </p:nvGrpSpPr>
        <p:grpSpPr>
          <a:xfrm>
            <a:off x="6133241" y="3537873"/>
            <a:ext cx="2895971" cy="478190"/>
            <a:chOff x="6133241" y="3433082"/>
            <a:chExt cx="2895971" cy="478190"/>
          </a:xfrm>
        </p:grpSpPr>
        <p:sp>
          <p:nvSpPr>
            <p:cNvPr id="46" name="矩形 45">
              <a:extLst>
                <a:ext uri="{FF2B5EF4-FFF2-40B4-BE49-F238E27FC236}">
                  <a16:creationId xmlns:a16="http://schemas.microsoft.com/office/drawing/2014/main" id="{6BAC15A1-5299-468C-998A-BA6C88A40FC7}"/>
                </a:ext>
              </a:extLst>
            </p:cNvPr>
            <p:cNvSpPr/>
            <p:nvPr/>
          </p:nvSpPr>
          <p:spPr>
            <a:xfrm>
              <a:off x="6133241" y="3433082"/>
              <a:ext cx="478190" cy="478190"/>
            </a:xfrm>
            <a:prstGeom prst="rect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宋体" panose="02010600030101010101" pitchFamily="2" charset="-122"/>
                  <a:cs typeface="+mn-ea"/>
                  <a:sym typeface="+mn-lt"/>
                </a:rPr>
                <a:t>02</a:t>
              </a:r>
              <a:endPara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ea"/>
                <a:sym typeface="+mn-lt"/>
              </a:endParaRPr>
            </a:p>
          </p:txBody>
        </p:sp>
        <p:sp>
          <p:nvSpPr>
            <p:cNvPr id="47" name="文本框 46">
              <a:extLst>
                <a:ext uri="{FF2B5EF4-FFF2-40B4-BE49-F238E27FC236}">
                  <a16:creationId xmlns:a16="http://schemas.microsoft.com/office/drawing/2014/main" id="{00E6B6B6-8E62-4FA0-9E42-42C49397665B}"/>
                </a:ext>
              </a:extLst>
            </p:cNvPr>
            <p:cNvSpPr txBox="1"/>
            <p:nvPr/>
          </p:nvSpPr>
          <p:spPr>
            <a:xfrm>
              <a:off x="6691713" y="3444260"/>
              <a:ext cx="2337499" cy="41735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方正兰亭纤黑简体" panose="02000000000000000000" pitchFamily="2" charset="-122"/>
                  <a:ea typeface="方正兰亭纤黑简体" panose="02000000000000000000" pitchFamily="2" charset="-122"/>
                  <a:cs typeface="+mn-ea"/>
                  <a:sym typeface="+mn-lt"/>
                </a:rPr>
                <a:t>领导讲话       </a:t>
              </a:r>
              <a:r>
                <a:rPr kumimoji="0" lang="en-US" altLang="zh-CN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方正兰亭纤黑简体" panose="02000000000000000000" pitchFamily="2" charset="-122"/>
                  <a:ea typeface="方正兰亭纤黑简体" panose="02000000000000000000" pitchFamily="2" charset="-122"/>
                  <a:cs typeface="+mn-ea"/>
                  <a:sym typeface="+mn-lt"/>
                </a:rPr>
                <a:t>10</a:t>
              </a:r>
              <a:r>
                <a:rPr kumimoji="0" lang="zh-CN" alt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方正兰亭纤黑简体" panose="02000000000000000000" pitchFamily="2" charset="-122"/>
                  <a:ea typeface="方正兰亭纤黑简体" panose="02000000000000000000" pitchFamily="2" charset="-122"/>
                  <a:cs typeface="+mn-ea"/>
                  <a:sym typeface="+mn-lt"/>
                </a:rPr>
                <a:t>分钟</a:t>
              </a:r>
            </a:p>
          </p:txBody>
        </p:sp>
      </p:grpSp>
      <p:grpSp>
        <p:nvGrpSpPr>
          <p:cNvPr id="40" name="组合 39"/>
          <p:cNvGrpSpPr/>
          <p:nvPr/>
        </p:nvGrpSpPr>
        <p:grpSpPr>
          <a:xfrm>
            <a:off x="6133241" y="4608905"/>
            <a:ext cx="2753304" cy="478190"/>
            <a:chOff x="6133241" y="4469255"/>
            <a:chExt cx="2753304" cy="478190"/>
          </a:xfrm>
        </p:grpSpPr>
        <p:sp>
          <p:nvSpPr>
            <p:cNvPr id="44" name="矩形 43">
              <a:extLst>
                <a:ext uri="{FF2B5EF4-FFF2-40B4-BE49-F238E27FC236}">
                  <a16:creationId xmlns:a16="http://schemas.microsoft.com/office/drawing/2014/main" id="{E938323C-6772-44AA-AC51-87AFED33A72D}"/>
                </a:ext>
              </a:extLst>
            </p:cNvPr>
            <p:cNvSpPr/>
            <p:nvPr/>
          </p:nvSpPr>
          <p:spPr>
            <a:xfrm>
              <a:off x="6133241" y="4469255"/>
              <a:ext cx="478190" cy="478190"/>
            </a:xfrm>
            <a:prstGeom prst="rect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宋体" panose="02010600030101010101" pitchFamily="2" charset="-122"/>
                  <a:cs typeface="+mn-ea"/>
                  <a:sym typeface="+mn-lt"/>
                </a:rPr>
                <a:t>03</a:t>
              </a:r>
              <a:endPara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ea"/>
                <a:sym typeface="+mn-lt"/>
              </a:endParaRPr>
            </a:p>
          </p:txBody>
        </p:sp>
        <p:sp>
          <p:nvSpPr>
            <p:cNvPr id="45" name="文本框 44">
              <a:extLst>
                <a:ext uri="{FF2B5EF4-FFF2-40B4-BE49-F238E27FC236}">
                  <a16:creationId xmlns:a16="http://schemas.microsoft.com/office/drawing/2014/main" id="{00E6B6B6-8E62-4FA0-9E42-42C49397665B}"/>
                </a:ext>
              </a:extLst>
            </p:cNvPr>
            <p:cNvSpPr txBox="1"/>
            <p:nvPr/>
          </p:nvSpPr>
          <p:spPr>
            <a:xfrm>
              <a:off x="6691713" y="4469255"/>
              <a:ext cx="2194832" cy="41735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方正兰亭纤黑简体" panose="02000000000000000000" pitchFamily="2" charset="-122"/>
                  <a:ea typeface="方正兰亭纤黑简体" panose="02000000000000000000" pitchFamily="2" charset="-122"/>
                  <a:cs typeface="+mn-ea"/>
                  <a:sym typeface="+mn-lt"/>
                </a:rPr>
                <a:t>沟通交流       </a:t>
              </a:r>
              <a:r>
                <a:rPr kumimoji="0" lang="en-US" altLang="zh-CN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方正兰亭纤黑简体" panose="02000000000000000000" pitchFamily="2" charset="-122"/>
                  <a:ea typeface="方正兰亭纤黑简体" panose="02000000000000000000" pitchFamily="2" charset="-122"/>
                  <a:cs typeface="+mn-ea"/>
                  <a:sym typeface="+mn-lt"/>
                </a:rPr>
                <a:t>5</a:t>
              </a:r>
              <a:r>
                <a:rPr kumimoji="0" lang="zh-CN" alt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方正兰亭纤黑简体" panose="02000000000000000000" pitchFamily="2" charset="-122"/>
                  <a:ea typeface="方正兰亭纤黑简体" panose="02000000000000000000" pitchFamily="2" charset="-122"/>
                  <a:cs typeface="+mn-ea"/>
                  <a:sym typeface="+mn-lt"/>
                </a:rPr>
                <a:t>分钟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61924090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矩形 13">
            <a:extLst>
              <a:ext uri="{FF2B5EF4-FFF2-40B4-BE49-F238E27FC236}">
                <a16:creationId xmlns:a16="http://schemas.microsoft.com/office/drawing/2014/main" id="{EFD5A42D-FCC7-490F-BC97-8AB1A87DCECB}"/>
              </a:ext>
            </a:extLst>
          </p:cNvPr>
          <p:cNvSpPr/>
          <p:nvPr/>
        </p:nvSpPr>
        <p:spPr>
          <a:xfrm>
            <a:off x="0" y="217895"/>
            <a:ext cx="2404154" cy="5276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zh-CN" altLang="en-US" sz="2800" b="1" dirty="0">
                <a:solidFill>
                  <a:schemeClr val="tx1"/>
                </a:solidFill>
                <a:latin typeface="方正兰亭纤黑简体" panose="02000000000000000000" pitchFamily="2" charset="-122"/>
                <a:ea typeface="方正兰亭纤黑简体" panose="02000000000000000000" pitchFamily="2" charset="-122"/>
              </a:rPr>
              <a:t>项目建设目标</a:t>
            </a:r>
          </a:p>
        </p:txBody>
      </p:sp>
      <p:sp>
        <p:nvSpPr>
          <p:cNvPr id="19" name="内容占位符 2">
            <a:extLst>
              <a:ext uri="{FF2B5EF4-FFF2-40B4-BE49-F238E27FC236}">
                <a16:creationId xmlns:a16="http://schemas.microsoft.com/office/drawing/2014/main" id="{1FB4E4EA-80A4-5D4E-B80F-2787E3FF8A91}"/>
              </a:ext>
            </a:extLst>
          </p:cNvPr>
          <p:cNvSpPr txBox="1">
            <a:spLocks/>
          </p:cNvSpPr>
          <p:nvPr/>
        </p:nvSpPr>
        <p:spPr bwMode="auto">
          <a:xfrm>
            <a:off x="241886" y="943266"/>
            <a:ext cx="5328798" cy="2070379"/>
          </a:xfrm>
          <a:prstGeom prst="rect">
            <a:avLst/>
          </a:prstGeom>
          <a:noFill/>
          <a:ln>
            <a:solidFill>
              <a:srgbClr val="4472C4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1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icrosoft YaHei" charset="-122"/>
                <a:ea typeface="Microsoft YaHei" charset="-122"/>
              </a:rPr>
              <a:t>产品标准化：</a:t>
            </a:r>
            <a:endParaRPr kumimoji="1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Microsoft YaHei" charset="-122"/>
              <a:ea typeface="Microsoft YaHei" charset="-122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1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icrosoft YaHei" charset="-122"/>
                <a:ea typeface="Microsoft YaHei" charset="-122"/>
              </a:rPr>
              <a:t>设计院标准化执行效果差异性大</a:t>
            </a:r>
            <a:endParaRPr kumimoji="1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YaHei" charset="-122"/>
              <a:ea typeface="Microsoft YaHei" charset="-122"/>
            </a:endParaRPr>
          </a:p>
          <a:p>
            <a:pPr>
              <a:lnSpc>
                <a:spcPct val="150000"/>
              </a:lnSpc>
            </a:pPr>
            <a:r>
              <a:rPr kumimoji="1" lang="zh-CN" altLang="en-US" sz="1600" dirty="0">
                <a:solidFill>
                  <a:prstClr val="black"/>
                </a:solidFill>
              </a:rPr>
              <a:t>因设计人员标准不清、复制不到位等问题严重影响图纸质量和出图周期。 </a:t>
            </a:r>
            <a:endParaRPr kumimoji="1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YaHei" charset="-122"/>
              <a:ea typeface="Microsoft YaHei" charset="-122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1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YaHei" charset="-122"/>
              <a:ea typeface="Microsoft YaHei" charset="-122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1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YaHei" charset="-122"/>
              <a:ea typeface="Microsoft YaHei" charset="-122"/>
            </a:endParaRPr>
          </a:p>
        </p:txBody>
      </p:sp>
      <p:sp>
        <p:nvSpPr>
          <p:cNvPr id="20" name="内容占位符 2">
            <a:extLst>
              <a:ext uri="{FF2B5EF4-FFF2-40B4-BE49-F238E27FC236}">
                <a16:creationId xmlns:a16="http://schemas.microsoft.com/office/drawing/2014/main" id="{BE2FB42D-362F-504C-B7B5-0824A0A9BA27}"/>
              </a:ext>
            </a:extLst>
          </p:cNvPr>
          <p:cNvSpPr txBox="1">
            <a:spLocks/>
          </p:cNvSpPr>
          <p:nvPr/>
        </p:nvSpPr>
        <p:spPr bwMode="auto">
          <a:xfrm>
            <a:off x="6401116" y="943266"/>
            <a:ext cx="5507714" cy="2070379"/>
          </a:xfrm>
          <a:prstGeom prst="rect">
            <a:avLst/>
          </a:prstGeom>
          <a:noFill/>
          <a:ln>
            <a:solidFill>
              <a:srgbClr val="4472C4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1" lang="zh-CN" altLang="en-US" sz="1600" dirty="0">
                <a:solidFill>
                  <a:srgbClr val="C00000"/>
                </a:solidFill>
              </a:rPr>
              <a:t>大运营</a:t>
            </a:r>
            <a:r>
              <a:rPr kumimoji="1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icrosoft YaHei" charset="-122"/>
                <a:ea typeface="Microsoft YaHei" charset="-122"/>
              </a:rPr>
              <a:t>：</a:t>
            </a:r>
            <a:endParaRPr kumimoji="1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Microsoft YaHei" charset="-122"/>
              <a:ea typeface="Microsoft YaHei" charset="-122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1" lang="zh-CN" altLang="en-US" sz="1600" dirty="0">
                <a:solidFill>
                  <a:prstClr val="black"/>
                </a:solidFill>
              </a:rPr>
              <a:t>各专业交圈，跨部门协作；</a:t>
            </a:r>
            <a:endParaRPr kumimoji="1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YaHei" charset="-122"/>
              <a:ea typeface="Microsoft YaHei" charset="-122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1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icrosoft YaHei" charset="-122"/>
                <a:ea typeface="Microsoft YaHei" charset="-122"/>
              </a:rPr>
              <a:t>打通产品、成本、工程，实现产品设计一体化。</a:t>
            </a:r>
            <a:endParaRPr kumimoji="1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YaHei" charset="-122"/>
              <a:ea typeface="Microsoft YaHei" charset="-122"/>
            </a:endParaRPr>
          </a:p>
        </p:txBody>
      </p:sp>
      <p:sp>
        <p:nvSpPr>
          <p:cNvPr id="21" name="矩形 20">
            <a:extLst>
              <a:ext uri="{FF2B5EF4-FFF2-40B4-BE49-F238E27FC236}">
                <a16:creationId xmlns:a16="http://schemas.microsoft.com/office/drawing/2014/main" id="{7CF9803F-76BA-BF41-B513-247413F42342}"/>
              </a:ext>
            </a:extLst>
          </p:cNvPr>
          <p:cNvSpPr/>
          <p:nvPr/>
        </p:nvSpPr>
        <p:spPr>
          <a:xfrm>
            <a:off x="241886" y="3844517"/>
            <a:ext cx="11666944" cy="2246652"/>
          </a:xfrm>
          <a:prstGeom prst="rect">
            <a:avLst/>
          </a:prstGeom>
          <a:noFill/>
          <a:ln w="12700" cap="flat" cmpd="sng" algn="ctr">
            <a:solidFill>
              <a:srgbClr val="4472C4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kumimoji="1" lang="zh-CN" altLang="en-US" kern="0">
              <a:solidFill>
                <a:prstClr val="white"/>
              </a:solidFill>
              <a:ea typeface="等线" panose="02010600030101010101" pitchFamily="2" charset="-122"/>
            </a:endParaRPr>
          </a:p>
        </p:txBody>
      </p:sp>
      <p:sp>
        <p:nvSpPr>
          <p:cNvPr id="22" name="文本框 21">
            <a:extLst>
              <a:ext uri="{FF2B5EF4-FFF2-40B4-BE49-F238E27FC236}">
                <a16:creationId xmlns:a16="http://schemas.microsoft.com/office/drawing/2014/main" id="{54995966-961B-5144-89FC-7CAFD690ADD1}"/>
              </a:ext>
            </a:extLst>
          </p:cNvPr>
          <p:cNvSpPr txBox="1"/>
          <p:nvPr/>
        </p:nvSpPr>
        <p:spPr>
          <a:xfrm>
            <a:off x="241886" y="3475184"/>
            <a:ext cx="11666944" cy="369332"/>
          </a:xfrm>
          <a:prstGeom prst="rect">
            <a:avLst/>
          </a:prstGeom>
          <a:solidFill>
            <a:srgbClr val="5B9BD5"/>
          </a:solidFill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kumimoji="1" lang="zh-CN" altLang="en-US" kern="0" dirty="0">
                <a:solidFill>
                  <a:prstClr val="white"/>
                </a:solidFill>
                <a:latin typeface="Microsoft YaHei" charset="-122"/>
                <a:ea typeface="Microsoft YaHei" charset="-122"/>
                <a:cs typeface="Microsoft YaHei" charset="-122"/>
              </a:rPr>
              <a:t>项目目标</a:t>
            </a:r>
          </a:p>
        </p:txBody>
      </p:sp>
      <p:sp>
        <p:nvSpPr>
          <p:cNvPr id="23" name="十字形 22">
            <a:extLst>
              <a:ext uri="{FF2B5EF4-FFF2-40B4-BE49-F238E27FC236}">
                <a16:creationId xmlns:a16="http://schemas.microsoft.com/office/drawing/2014/main" id="{A09269C5-FCB4-2841-8ED3-D104E95FA2E9}"/>
              </a:ext>
            </a:extLst>
          </p:cNvPr>
          <p:cNvSpPr/>
          <p:nvPr/>
        </p:nvSpPr>
        <p:spPr>
          <a:xfrm>
            <a:off x="5722127" y="1561019"/>
            <a:ext cx="566495" cy="519037"/>
          </a:xfrm>
          <a:prstGeom prst="plus">
            <a:avLst/>
          </a:prstGeom>
          <a:solidFill>
            <a:srgbClr val="F5783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kumimoji="1" lang="zh-CN" altLang="en-US" kern="0">
              <a:solidFill>
                <a:srgbClr val="C00000"/>
              </a:solidFill>
              <a:ea typeface="等线" panose="02010600030101010101" pitchFamily="2" charset="-122"/>
            </a:endParaRPr>
          </a:p>
        </p:txBody>
      </p:sp>
      <p:sp>
        <p:nvSpPr>
          <p:cNvPr id="24" name="下箭头 9">
            <a:extLst>
              <a:ext uri="{FF2B5EF4-FFF2-40B4-BE49-F238E27FC236}">
                <a16:creationId xmlns:a16="http://schemas.microsoft.com/office/drawing/2014/main" id="{4444C175-CF3C-964F-85EB-0E926570EB0F}"/>
              </a:ext>
            </a:extLst>
          </p:cNvPr>
          <p:cNvSpPr/>
          <p:nvPr/>
        </p:nvSpPr>
        <p:spPr>
          <a:xfrm>
            <a:off x="2717599" y="3065492"/>
            <a:ext cx="667657" cy="409693"/>
          </a:xfrm>
          <a:prstGeom prst="downArrow">
            <a:avLst/>
          </a:prstGeom>
          <a:solidFill>
            <a:srgbClr val="F5783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kumimoji="1" lang="zh-CN" altLang="en-US" kern="0">
              <a:solidFill>
                <a:prstClr val="white"/>
              </a:solidFill>
              <a:ea typeface="等线" panose="02010600030101010101" pitchFamily="2" charset="-122"/>
            </a:endParaRPr>
          </a:p>
        </p:txBody>
      </p:sp>
      <p:sp>
        <p:nvSpPr>
          <p:cNvPr id="25" name="下箭头 10">
            <a:extLst>
              <a:ext uri="{FF2B5EF4-FFF2-40B4-BE49-F238E27FC236}">
                <a16:creationId xmlns:a16="http://schemas.microsoft.com/office/drawing/2014/main" id="{FC4E680D-97D4-9241-800C-7EE398A3361A}"/>
              </a:ext>
            </a:extLst>
          </p:cNvPr>
          <p:cNvSpPr/>
          <p:nvPr/>
        </p:nvSpPr>
        <p:spPr>
          <a:xfrm>
            <a:off x="8830482" y="3065491"/>
            <a:ext cx="667657" cy="409693"/>
          </a:xfrm>
          <a:prstGeom prst="downArrow">
            <a:avLst/>
          </a:prstGeom>
          <a:solidFill>
            <a:srgbClr val="F5783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kumimoji="1" lang="zh-CN" altLang="en-US" kern="0">
              <a:solidFill>
                <a:prstClr val="white"/>
              </a:solidFill>
              <a:ea typeface="等线" panose="02010600030101010101" pitchFamily="2" charset="-122"/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97F27C46-1C83-8B4C-A87D-46BDFA556F2F}"/>
              </a:ext>
            </a:extLst>
          </p:cNvPr>
          <p:cNvSpPr/>
          <p:nvPr/>
        </p:nvSpPr>
        <p:spPr>
          <a:xfrm>
            <a:off x="1001485" y="4097297"/>
            <a:ext cx="2360033" cy="452376"/>
          </a:xfrm>
          <a:prstGeom prst="rect">
            <a:avLst/>
          </a:prstGeom>
          <a:solidFill>
            <a:srgbClr val="ED7D3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kumimoji="1" lang="zh-CN" altLang="en-US" kern="0" dirty="0">
                <a:solidFill>
                  <a:prstClr val="white"/>
                </a:solidFill>
                <a:latin typeface="Microsoft YaHei" charset="-122"/>
                <a:ea typeface="等线" panose="02010600030101010101" pitchFamily="2" charset="-122"/>
                <a:cs typeface="Microsoft YaHei" charset="-122"/>
              </a:rPr>
              <a:t>提高设计效率</a:t>
            </a: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0D230AF6-BD25-1643-B8C5-1C5F15403487}"/>
              </a:ext>
            </a:extLst>
          </p:cNvPr>
          <p:cNvSpPr/>
          <p:nvPr/>
        </p:nvSpPr>
        <p:spPr>
          <a:xfrm>
            <a:off x="4805780" y="4028021"/>
            <a:ext cx="2580439" cy="452376"/>
          </a:xfrm>
          <a:prstGeom prst="rect">
            <a:avLst/>
          </a:prstGeom>
          <a:solidFill>
            <a:srgbClr val="ED7D3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kumimoji="1" lang="zh-CN" altLang="en-US" kern="0" dirty="0">
                <a:solidFill>
                  <a:prstClr val="white"/>
                </a:solidFill>
                <a:latin typeface="Microsoft YaHei" charset="-122"/>
                <a:ea typeface="等线" panose="02010600030101010101" pitchFamily="2" charset="-122"/>
                <a:cs typeface="Microsoft YaHei" charset="-122"/>
              </a:rPr>
              <a:t>快速算量统计</a:t>
            </a: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3708DCAC-6D31-D54D-A769-42F0FEFFC8D7}"/>
              </a:ext>
            </a:extLst>
          </p:cNvPr>
          <p:cNvSpPr/>
          <p:nvPr/>
        </p:nvSpPr>
        <p:spPr>
          <a:xfrm>
            <a:off x="8719646" y="4036280"/>
            <a:ext cx="2360032" cy="452376"/>
          </a:xfrm>
          <a:prstGeom prst="rect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kumimoji="1" lang="zh-CN" altLang="en-US" kern="0" dirty="0">
                <a:solidFill>
                  <a:prstClr val="white"/>
                </a:solidFill>
                <a:latin typeface="Microsoft YaHei" charset="-122"/>
                <a:ea typeface="等线" panose="02010600030101010101" pitchFamily="2" charset="-122"/>
                <a:cs typeface="Microsoft YaHei" charset="-122"/>
              </a:rPr>
              <a:t>设计协同共享</a:t>
            </a:r>
          </a:p>
        </p:txBody>
      </p:sp>
      <p:sp>
        <p:nvSpPr>
          <p:cNvPr id="30" name="文本框 29">
            <a:extLst>
              <a:ext uri="{FF2B5EF4-FFF2-40B4-BE49-F238E27FC236}">
                <a16:creationId xmlns:a16="http://schemas.microsoft.com/office/drawing/2014/main" id="{F5F8CE16-4E86-144C-B3F1-436CC8C731C4}"/>
              </a:ext>
            </a:extLst>
          </p:cNvPr>
          <p:cNvSpPr txBox="1"/>
          <p:nvPr/>
        </p:nvSpPr>
        <p:spPr>
          <a:xfrm>
            <a:off x="839955" y="4684618"/>
            <a:ext cx="2683092" cy="8906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kumimoji="1" lang="zh-CN" altLang="en-US" sz="1200" dirty="0">
                <a:solidFill>
                  <a:prstClr val="black"/>
                </a:solidFill>
                <a:latin typeface="Microsoft YaHei" charset="-122"/>
                <a:ea typeface="Microsoft YaHei" charset="-122"/>
                <a:cs typeface="Microsoft YaHei" charset="-122"/>
              </a:rPr>
              <a:t>参数化动态图库</a:t>
            </a:r>
          </a:p>
          <a:p>
            <a:pPr marL="171450" indent="-17145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kumimoji="1" lang="zh-CN" altLang="en-US" sz="1200" dirty="0">
                <a:solidFill>
                  <a:prstClr val="black"/>
                </a:solidFill>
                <a:latin typeface="Microsoft YaHei" charset="-122"/>
                <a:ea typeface="Microsoft YaHei" charset="-122"/>
                <a:cs typeface="Microsoft YaHei" charset="-122"/>
              </a:rPr>
              <a:t>实现标准化模块快速复制应用；</a:t>
            </a:r>
            <a:endParaRPr kumimoji="1" lang="en-US" altLang="zh-CN" sz="1200" dirty="0">
              <a:solidFill>
                <a:prstClr val="black"/>
              </a:solidFill>
              <a:latin typeface="Microsoft YaHei" charset="-122"/>
              <a:ea typeface="Microsoft YaHei" charset="-122"/>
              <a:cs typeface="Microsoft YaHei" charset="-122"/>
            </a:endParaRPr>
          </a:p>
          <a:p>
            <a:pPr marL="171450" indent="-17145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kumimoji="1" lang="zh-CN" altLang="en-US" sz="1200" dirty="0">
                <a:solidFill>
                  <a:prstClr val="black"/>
                </a:solidFill>
                <a:latin typeface="Microsoft YaHei" charset="-122"/>
                <a:ea typeface="Microsoft YaHei" charset="-122"/>
                <a:cs typeface="Microsoft YaHei" charset="-122"/>
              </a:rPr>
              <a:t>实现标准化块迭代更新。</a:t>
            </a:r>
            <a:endParaRPr kumimoji="1" lang="en-US" altLang="zh-CN" sz="1200" dirty="0">
              <a:solidFill>
                <a:prstClr val="black"/>
              </a:solidFill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  <p:sp>
        <p:nvSpPr>
          <p:cNvPr id="31" name="文本框 30">
            <a:extLst>
              <a:ext uri="{FF2B5EF4-FFF2-40B4-BE49-F238E27FC236}">
                <a16:creationId xmlns:a16="http://schemas.microsoft.com/office/drawing/2014/main" id="{F612929C-B0ED-E04C-A88A-518A5329EB54}"/>
              </a:ext>
            </a:extLst>
          </p:cNvPr>
          <p:cNvSpPr txBox="1"/>
          <p:nvPr/>
        </p:nvSpPr>
        <p:spPr>
          <a:xfrm>
            <a:off x="4694113" y="4660868"/>
            <a:ext cx="2803771" cy="8906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171450" indent="-171450">
              <a:lnSpc>
                <a:spcPct val="150000"/>
              </a:lnSpc>
              <a:buFont typeface="Arial" charset="0"/>
              <a:buChar char="•"/>
              <a:defRPr kumimoji="1" sz="1200">
                <a:latin typeface="Microsoft YaHei" charset="-122"/>
                <a:ea typeface="Microsoft YaHei" charset="-122"/>
                <a:cs typeface="Microsoft YaHei" charset="-122"/>
              </a:defRPr>
            </a:lvl1pPr>
          </a:lstStyle>
          <a:p>
            <a:pPr marL="171450" marR="0" lvl="0" indent="-17145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1" lang="zh-CN" alt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icrosoft YaHei" charset="-122"/>
                <a:ea typeface="Microsoft YaHei" charset="-122"/>
              </a:rPr>
              <a:t>实现标准化模块设计算量统计；</a:t>
            </a:r>
            <a:endParaRPr kumimoji="1" lang="en-US" altLang="zh-CN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YaHei" charset="-122"/>
              <a:ea typeface="Microsoft YaHei" charset="-122"/>
            </a:endParaRPr>
          </a:p>
          <a:p>
            <a:pPr marL="171450" marR="0" lvl="0" indent="-17145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zh-CN" altLang="en-US" kern="0" dirty="0">
                <a:solidFill>
                  <a:prstClr val="black"/>
                </a:solidFill>
              </a:rPr>
              <a:t>建立成本测算模型，实现成本测算；</a:t>
            </a:r>
            <a:endParaRPr lang="en-US" altLang="zh-CN" kern="0" dirty="0">
              <a:solidFill>
                <a:prstClr val="black"/>
              </a:solidFill>
            </a:endParaRPr>
          </a:p>
          <a:p>
            <a:pPr marL="171450" marR="0" lvl="0" indent="-17145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1" lang="zh-CN" alt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icrosoft YaHei" charset="-122"/>
                <a:ea typeface="Microsoft YaHei" charset="-122"/>
              </a:rPr>
              <a:t>输出设计算量</a:t>
            </a:r>
            <a:r>
              <a:rPr kumimoji="1" lang="en-US" altLang="zh-CN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icrosoft YaHei" charset="-122"/>
                <a:ea typeface="Microsoft YaHei" charset="-122"/>
              </a:rPr>
              <a:t>/</a:t>
            </a:r>
            <a:r>
              <a:rPr kumimoji="1" lang="zh-CN" alt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icrosoft YaHei" charset="-122"/>
                <a:ea typeface="Microsoft YaHei" charset="-122"/>
              </a:rPr>
              <a:t>成本算量清单。</a:t>
            </a:r>
            <a:endParaRPr kumimoji="1" lang="en-US" altLang="zh-CN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YaHei" charset="-122"/>
              <a:ea typeface="Microsoft YaHei" charset="-122"/>
            </a:endParaRPr>
          </a:p>
        </p:txBody>
      </p:sp>
      <p:sp>
        <p:nvSpPr>
          <p:cNvPr id="32" name="文本框 31">
            <a:extLst>
              <a:ext uri="{FF2B5EF4-FFF2-40B4-BE49-F238E27FC236}">
                <a16:creationId xmlns:a16="http://schemas.microsoft.com/office/drawing/2014/main" id="{3F3085B6-3E8C-0A48-BFE4-1E4D40D9D77F}"/>
              </a:ext>
            </a:extLst>
          </p:cNvPr>
          <p:cNvSpPr txBox="1"/>
          <p:nvPr/>
        </p:nvSpPr>
        <p:spPr>
          <a:xfrm>
            <a:off x="8607820" y="4655798"/>
            <a:ext cx="2744225" cy="11676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171450" indent="-171450">
              <a:lnSpc>
                <a:spcPct val="150000"/>
              </a:lnSpc>
              <a:buFont typeface="Arial" charset="0"/>
              <a:buChar char="•"/>
              <a:defRPr kumimoji="1" sz="1200">
                <a:latin typeface="Microsoft YaHei" charset="-122"/>
                <a:ea typeface="Microsoft YaHei" charset="-122"/>
                <a:cs typeface="Microsoft YaHei" charset="-122"/>
              </a:defRPr>
            </a:lvl1pPr>
          </a:lstStyle>
          <a:p>
            <a:pPr marL="171450" marR="0" lvl="0" indent="-171450" defTabSz="91440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1" lang="zh-CN" alt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icrosoft YaHei" charset="-122"/>
                <a:ea typeface="Microsoft YaHei" charset="-122"/>
              </a:rPr>
              <a:t>实现施工图设计业务上下管理纵向贯通；</a:t>
            </a:r>
            <a:endParaRPr kumimoji="1" lang="en-US" altLang="zh-CN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YaHei" charset="-122"/>
              <a:ea typeface="Microsoft YaHei" charset="-122"/>
            </a:endParaRPr>
          </a:p>
          <a:p>
            <a:pPr marL="171450" marR="0" lvl="0" indent="-171450" defTabSz="91440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1" lang="zh-CN" alt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icrosoft YaHei" charset="-122"/>
                <a:ea typeface="Microsoft YaHei" charset="-122"/>
              </a:rPr>
              <a:t>关键业务线上审批；</a:t>
            </a:r>
            <a:endParaRPr kumimoji="1" lang="en-US" altLang="zh-CN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YaHei" charset="-122"/>
              <a:ea typeface="Microsoft YaHei" charset="-122"/>
            </a:endParaRPr>
          </a:p>
          <a:p>
            <a:pPr marL="171450" marR="0" lvl="0" indent="-171450" defTabSz="91440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zh-CN" altLang="en-US" kern="0" dirty="0">
                <a:solidFill>
                  <a:prstClr val="black"/>
                </a:solidFill>
              </a:rPr>
              <a:t>最终成果的实时共享。</a:t>
            </a:r>
            <a:endParaRPr kumimoji="1" lang="en-US" altLang="zh-CN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YaHei" charset="-122"/>
              <a:ea typeface="Microsoft YaHei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42460437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矩形 10">
            <a:extLst>
              <a:ext uri="{FF2B5EF4-FFF2-40B4-BE49-F238E27FC236}">
                <a16:creationId xmlns:a16="http://schemas.microsoft.com/office/drawing/2014/main" id="{F1D1E91C-2F5C-A94B-9868-82A120F5FA76}"/>
              </a:ext>
            </a:extLst>
          </p:cNvPr>
          <p:cNvSpPr/>
          <p:nvPr/>
        </p:nvSpPr>
        <p:spPr>
          <a:xfrm>
            <a:off x="781056" y="5520712"/>
            <a:ext cx="1330037" cy="390557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26CBC909-F240-634D-8E38-A60C3C765F6F}"/>
              </a:ext>
            </a:extLst>
          </p:cNvPr>
          <p:cNvSpPr/>
          <p:nvPr/>
        </p:nvSpPr>
        <p:spPr>
          <a:xfrm>
            <a:off x="781057" y="4214604"/>
            <a:ext cx="1330037" cy="390557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2" name="矩形 1">
            <a:extLst>
              <a:ext uri="{FF2B5EF4-FFF2-40B4-BE49-F238E27FC236}">
                <a16:creationId xmlns:a16="http://schemas.microsoft.com/office/drawing/2014/main" id="{BEA11C55-09E2-9D4C-907F-A54AA36332CA}"/>
              </a:ext>
            </a:extLst>
          </p:cNvPr>
          <p:cNvSpPr/>
          <p:nvPr/>
        </p:nvSpPr>
        <p:spPr>
          <a:xfrm>
            <a:off x="781058" y="935094"/>
            <a:ext cx="1330037" cy="390557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E30351E9-CB99-3248-BFD7-668E1F7D328E}"/>
              </a:ext>
            </a:extLst>
          </p:cNvPr>
          <p:cNvSpPr/>
          <p:nvPr/>
        </p:nvSpPr>
        <p:spPr>
          <a:xfrm>
            <a:off x="0" y="217895"/>
            <a:ext cx="2404154" cy="5276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zh-CN" altLang="en-US" sz="2800" b="1" dirty="0">
                <a:solidFill>
                  <a:schemeClr val="tx1"/>
                </a:solidFill>
                <a:latin typeface="方正兰亭纤黑简体" panose="02000000000000000000" pitchFamily="2" charset="-122"/>
                <a:ea typeface="方正兰亭纤黑简体" panose="02000000000000000000" pitchFamily="2" charset="-122"/>
              </a:rPr>
              <a:t>项目建设范围</a:t>
            </a:r>
          </a:p>
        </p:txBody>
      </p:sp>
      <p:sp>
        <p:nvSpPr>
          <p:cNvPr id="4" name="内容占位符 2">
            <a:extLst>
              <a:ext uri="{FF2B5EF4-FFF2-40B4-BE49-F238E27FC236}">
                <a16:creationId xmlns:a16="http://schemas.microsoft.com/office/drawing/2014/main" id="{D5A2C479-1E9F-4122-887E-529E08EA2176}"/>
              </a:ext>
            </a:extLst>
          </p:cNvPr>
          <p:cNvSpPr txBox="1">
            <a:spLocks/>
          </p:cNvSpPr>
          <p:nvPr/>
        </p:nvSpPr>
        <p:spPr bwMode="auto">
          <a:xfrm>
            <a:off x="952883" y="898962"/>
            <a:ext cx="5675459" cy="527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kumimoji="1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icrosoft YaHei" charset="-122"/>
                <a:ea typeface="Microsoft YaHei" charset="-122"/>
              </a:rPr>
              <a:t>八大模块</a:t>
            </a:r>
            <a:endParaRPr kumimoji="1" lang="en-US" altLang="zh-CN" sz="16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icrosoft YaHei" charset="-122"/>
              <a:ea typeface="Microsoft YaHei" charset="-122"/>
            </a:endParaRPr>
          </a:p>
        </p:txBody>
      </p:sp>
      <p:sp>
        <p:nvSpPr>
          <p:cNvPr id="7" name="内容占位符 2">
            <a:extLst>
              <a:ext uri="{FF2B5EF4-FFF2-40B4-BE49-F238E27FC236}">
                <a16:creationId xmlns:a16="http://schemas.microsoft.com/office/drawing/2014/main" id="{707EAFC1-0E60-4694-8F0F-52D62523679E}"/>
              </a:ext>
            </a:extLst>
          </p:cNvPr>
          <p:cNvSpPr txBox="1">
            <a:spLocks/>
          </p:cNvSpPr>
          <p:nvPr/>
        </p:nvSpPr>
        <p:spPr bwMode="auto">
          <a:xfrm>
            <a:off x="1275788" y="4700880"/>
            <a:ext cx="5328798" cy="6150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>
            <a:defPPr>
              <a:defRPr lang="zh-CN"/>
            </a:defPPr>
            <a:lvl1pPr marL="228600" indent="-228600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1200" b="0">
                <a:solidFill>
                  <a:prstClr val="black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latin typeface="Microsoft YaHei" charset="-122"/>
                <a:ea typeface="Microsoft YaHei" charset="-122"/>
                <a:cs typeface="Microsoft YaHei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latin typeface="Microsoft YaHei" charset="-122"/>
                <a:ea typeface="Microsoft YaHei" charset="-122"/>
                <a:cs typeface="Microsoft YaHei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228600" lvl="1">
              <a:lnSpc>
                <a:spcPct val="100000"/>
              </a:lnSpc>
              <a:spcBef>
                <a:spcPts val="1000"/>
              </a:spcBef>
            </a:pPr>
            <a:r>
              <a:rPr kumimoji="1" lang="en-US" altLang="zh-CN" sz="1400" dirty="0">
                <a:solidFill>
                  <a:prstClr val="black"/>
                </a:solidFill>
              </a:rPr>
              <a:t>Web</a:t>
            </a:r>
            <a:r>
              <a:rPr kumimoji="1" lang="zh-CN" altLang="en-US" sz="1400" dirty="0">
                <a:solidFill>
                  <a:prstClr val="black"/>
                </a:solidFill>
              </a:rPr>
              <a:t>后台标准模块管理、权限管理、配置管理、日志管理</a:t>
            </a:r>
            <a:endParaRPr kumimoji="1" lang="en-US" altLang="zh-CN" sz="1400" dirty="0">
              <a:solidFill>
                <a:prstClr val="black"/>
              </a:solidFill>
            </a:endParaRPr>
          </a:p>
          <a:p>
            <a:pPr marL="228600" lvl="1">
              <a:lnSpc>
                <a:spcPct val="100000"/>
              </a:lnSpc>
              <a:spcBef>
                <a:spcPts val="1000"/>
              </a:spcBef>
            </a:pPr>
            <a:r>
              <a:rPr kumimoji="1" lang="zh-CN" altLang="en-US" sz="1400" dirty="0">
                <a:solidFill>
                  <a:prstClr val="black"/>
                </a:solidFill>
              </a:rPr>
              <a:t>系统集成接口对接</a:t>
            </a:r>
            <a:endParaRPr kumimoji="1" lang="en-US" altLang="zh-CN" sz="1400" dirty="0">
              <a:solidFill>
                <a:prstClr val="black"/>
              </a:solidFill>
            </a:endParaRPr>
          </a:p>
        </p:txBody>
      </p:sp>
      <p:sp>
        <p:nvSpPr>
          <p:cNvPr id="8" name="内容占位符 2">
            <a:extLst>
              <a:ext uri="{FF2B5EF4-FFF2-40B4-BE49-F238E27FC236}">
                <a16:creationId xmlns:a16="http://schemas.microsoft.com/office/drawing/2014/main" id="{83EE8E70-47FC-44F6-A750-DB8D7A5BBF83}"/>
              </a:ext>
            </a:extLst>
          </p:cNvPr>
          <p:cNvSpPr txBox="1">
            <a:spLocks/>
          </p:cNvSpPr>
          <p:nvPr/>
        </p:nvSpPr>
        <p:spPr bwMode="auto">
          <a:xfrm>
            <a:off x="929127" y="4173256"/>
            <a:ext cx="5023998" cy="5445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kumimoji="1" lang="en-US" altLang="zh-CN" sz="1600" b="1" dirty="0">
                <a:solidFill>
                  <a:schemeClr val="bg1"/>
                </a:solidFill>
              </a:rPr>
              <a:t>WEB</a:t>
            </a:r>
            <a:r>
              <a:rPr kumimoji="1" lang="zh-CN" altLang="en-US" sz="1600" b="1" dirty="0">
                <a:solidFill>
                  <a:schemeClr val="bg1"/>
                </a:solidFill>
              </a:rPr>
              <a:t>后台</a:t>
            </a:r>
            <a:endParaRPr kumimoji="1" lang="en-US" altLang="zh-CN" sz="1600" b="1" dirty="0">
              <a:solidFill>
                <a:schemeClr val="bg1"/>
              </a:solidFill>
            </a:endParaRPr>
          </a:p>
        </p:txBody>
      </p:sp>
      <p:sp>
        <p:nvSpPr>
          <p:cNvPr id="9" name="内容占位符 2">
            <a:extLst>
              <a:ext uri="{FF2B5EF4-FFF2-40B4-BE49-F238E27FC236}">
                <a16:creationId xmlns:a16="http://schemas.microsoft.com/office/drawing/2014/main" id="{C670AB10-72F2-4A7A-9F3F-2AA542545538}"/>
              </a:ext>
            </a:extLst>
          </p:cNvPr>
          <p:cNvSpPr txBox="1">
            <a:spLocks/>
          </p:cNvSpPr>
          <p:nvPr/>
        </p:nvSpPr>
        <p:spPr bwMode="auto">
          <a:xfrm>
            <a:off x="929127" y="5473747"/>
            <a:ext cx="5023998" cy="5445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kumimoji="1" lang="zh-CN" altLang="en-US" sz="1600" b="1" dirty="0">
                <a:solidFill>
                  <a:schemeClr val="bg1"/>
                </a:solidFill>
              </a:rPr>
              <a:t>实施培训</a:t>
            </a:r>
            <a:endParaRPr kumimoji="1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1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YaHei" charset="-122"/>
              <a:ea typeface="Microsoft YaHei" charset="-122"/>
            </a:endParaRPr>
          </a:p>
        </p:txBody>
      </p:sp>
      <p:sp>
        <p:nvSpPr>
          <p:cNvPr id="12" name="内容占位符 2">
            <a:extLst>
              <a:ext uri="{FF2B5EF4-FFF2-40B4-BE49-F238E27FC236}">
                <a16:creationId xmlns:a16="http://schemas.microsoft.com/office/drawing/2014/main" id="{F1958CCB-9DBA-4A01-AE89-03546C9FBA38}"/>
              </a:ext>
            </a:extLst>
          </p:cNvPr>
          <p:cNvSpPr txBox="1">
            <a:spLocks/>
          </p:cNvSpPr>
          <p:nvPr/>
        </p:nvSpPr>
        <p:spPr bwMode="auto">
          <a:xfrm>
            <a:off x="1275787" y="1426625"/>
            <a:ext cx="7535703" cy="27347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>
            <a:defPPr>
              <a:defRPr lang="zh-CN"/>
            </a:defPPr>
            <a:lvl1pPr marL="228600" indent="-228600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1200" b="0">
                <a:solidFill>
                  <a:prstClr val="black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latin typeface="Microsoft YaHei" charset="-122"/>
                <a:ea typeface="Microsoft YaHei" charset="-122"/>
                <a:cs typeface="Microsoft YaHei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latin typeface="Microsoft YaHei" charset="-122"/>
                <a:ea typeface="Microsoft YaHei" charset="-122"/>
                <a:cs typeface="Microsoft YaHei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>
              <a:lnSpc>
                <a:spcPct val="100000"/>
              </a:lnSpc>
            </a:pPr>
            <a:r>
              <a:rPr lang="zh-CN" altLang="en-US" sz="1400" dirty="0"/>
              <a:t>外窗模块：外窗模块参数化动态模型、外窗模块设计算量</a:t>
            </a:r>
            <a:endParaRPr lang="en-US" altLang="zh-CN" sz="1400" dirty="0"/>
          </a:p>
          <a:p>
            <a:pPr>
              <a:lnSpc>
                <a:spcPct val="100000"/>
              </a:lnSpc>
            </a:pPr>
            <a:r>
              <a:rPr lang="zh-CN" altLang="en-US" sz="1400" dirty="0"/>
              <a:t>栏杆模块：栏杆模块基于标准化样式沿路径自动生成及设计算量</a:t>
            </a:r>
            <a:endParaRPr lang="en-US" altLang="zh-CN" sz="1400" dirty="0"/>
          </a:p>
          <a:p>
            <a:pPr>
              <a:lnSpc>
                <a:spcPct val="100000"/>
              </a:lnSpc>
            </a:pPr>
            <a:r>
              <a:rPr lang="zh-CN" altLang="en-US" sz="1400" dirty="0"/>
              <a:t>线脚模块：线脚模块动态生成排布及设计算量</a:t>
            </a:r>
            <a:endParaRPr lang="en-US" altLang="zh-CN" sz="1400" dirty="0"/>
          </a:p>
          <a:p>
            <a:pPr>
              <a:lnSpc>
                <a:spcPct val="100000"/>
              </a:lnSpc>
            </a:pPr>
            <a:r>
              <a:rPr lang="zh-CN" altLang="en-US" sz="1400" dirty="0"/>
              <a:t>定型厨卫模块：定型厨卫模块动态生成排布及设计算量</a:t>
            </a:r>
            <a:endParaRPr lang="en-US" altLang="zh-CN" sz="1400" dirty="0"/>
          </a:p>
          <a:p>
            <a:pPr>
              <a:lnSpc>
                <a:spcPct val="100000"/>
              </a:lnSpc>
            </a:pPr>
            <a:r>
              <a:rPr lang="zh-CN" altLang="en-US" sz="1400" dirty="0"/>
              <a:t>填充材质模块：填充材质模块填充及算量</a:t>
            </a:r>
            <a:endParaRPr lang="en-US" altLang="zh-CN" sz="1400" dirty="0"/>
          </a:p>
          <a:p>
            <a:pPr>
              <a:lnSpc>
                <a:spcPct val="100000"/>
              </a:lnSpc>
            </a:pPr>
            <a:r>
              <a:rPr lang="zh-CN" altLang="en-US" sz="1400" dirty="0"/>
              <a:t>空调模块：空调模块库建立和空调点位识别</a:t>
            </a:r>
            <a:endParaRPr lang="en-US" altLang="zh-CN" sz="1400" dirty="0"/>
          </a:p>
          <a:p>
            <a:pPr>
              <a:lnSpc>
                <a:spcPct val="100000"/>
              </a:lnSpc>
            </a:pPr>
            <a:r>
              <a:rPr lang="zh-CN" altLang="en-US" sz="1400" dirty="0"/>
              <a:t>标准立面模块：标准立面模块库及属性关系建立</a:t>
            </a:r>
            <a:endParaRPr lang="en-US" altLang="zh-CN" sz="1400" dirty="0"/>
          </a:p>
          <a:p>
            <a:pPr>
              <a:lnSpc>
                <a:spcPct val="100000"/>
              </a:lnSpc>
            </a:pPr>
            <a:r>
              <a:rPr lang="zh-CN" altLang="en-US" sz="1400" dirty="0"/>
              <a:t>防水构造模块：防水构造模块及属性关系建立 </a:t>
            </a:r>
            <a:endParaRPr lang="en-US" altLang="zh-CN" sz="1400" dirty="0"/>
          </a:p>
          <a:p>
            <a:endParaRPr lang="en-US" altLang="zh-CN" dirty="0"/>
          </a:p>
          <a:p>
            <a:endParaRPr lang="en-US" altLang="zh-CN" dirty="0"/>
          </a:p>
        </p:txBody>
      </p:sp>
      <p:sp>
        <p:nvSpPr>
          <p:cNvPr id="13" name="内容占位符 2">
            <a:extLst>
              <a:ext uri="{FF2B5EF4-FFF2-40B4-BE49-F238E27FC236}">
                <a16:creationId xmlns:a16="http://schemas.microsoft.com/office/drawing/2014/main" id="{4CCC9F3C-4FE5-49C8-9649-167CB6955196}"/>
              </a:ext>
            </a:extLst>
          </p:cNvPr>
          <p:cNvSpPr txBox="1">
            <a:spLocks/>
          </p:cNvSpPr>
          <p:nvPr/>
        </p:nvSpPr>
        <p:spPr bwMode="auto">
          <a:xfrm>
            <a:off x="1275788" y="5955262"/>
            <a:ext cx="5328798" cy="416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>
            <a:defPPr>
              <a:defRPr lang="zh-CN"/>
            </a:defPPr>
            <a:lvl1pPr marL="228600" indent="-228600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1200" b="0">
                <a:solidFill>
                  <a:prstClr val="black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latin typeface="Microsoft YaHei" charset="-122"/>
                <a:ea typeface="Microsoft YaHei" charset="-122"/>
                <a:cs typeface="Microsoft YaHei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latin typeface="Microsoft YaHei" charset="-122"/>
                <a:ea typeface="Microsoft YaHei" charset="-122"/>
                <a:cs typeface="Microsoft YaHei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228600" lvl="1">
              <a:lnSpc>
                <a:spcPct val="150000"/>
              </a:lnSpc>
              <a:spcBef>
                <a:spcPts val="1000"/>
              </a:spcBef>
            </a:pPr>
            <a:r>
              <a:rPr kumimoji="1" lang="zh-CN" altLang="en-US" sz="1400" dirty="0">
                <a:solidFill>
                  <a:prstClr val="black"/>
                </a:solidFill>
              </a:rPr>
              <a:t>融创八大区域实施及培训</a:t>
            </a:r>
            <a:endParaRPr kumimoji="1" lang="en-US" altLang="zh-CN" sz="14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235968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>
            <a:extLst>
              <a:ext uri="{FF2B5EF4-FFF2-40B4-BE49-F238E27FC236}">
                <a16:creationId xmlns:a16="http://schemas.microsoft.com/office/drawing/2014/main" id="{E30351E9-CB99-3248-BFD7-668E1F7D328E}"/>
              </a:ext>
            </a:extLst>
          </p:cNvPr>
          <p:cNvSpPr/>
          <p:nvPr/>
        </p:nvSpPr>
        <p:spPr>
          <a:xfrm>
            <a:off x="0" y="217895"/>
            <a:ext cx="2404154" cy="5276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zh-CN" altLang="en-US" sz="2800" b="1" dirty="0">
                <a:solidFill>
                  <a:schemeClr val="tx1"/>
                </a:solidFill>
                <a:latin typeface="方正兰亭纤黑简体" panose="02000000000000000000" pitchFamily="2" charset="-122"/>
                <a:ea typeface="方正兰亭纤黑简体" panose="02000000000000000000" pitchFamily="2" charset="-122"/>
              </a:rPr>
              <a:t>项目建设思路</a:t>
            </a:r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102FE386-9CB4-6844-8106-4196F0AFB64A}"/>
              </a:ext>
            </a:extLst>
          </p:cNvPr>
          <p:cNvSpPr/>
          <p:nvPr/>
        </p:nvSpPr>
        <p:spPr>
          <a:xfrm>
            <a:off x="2413681" y="2416771"/>
            <a:ext cx="6821515" cy="3175515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0" name="Rectangle 72">
            <a:extLst>
              <a:ext uri="{FF2B5EF4-FFF2-40B4-BE49-F238E27FC236}">
                <a16:creationId xmlns:a16="http://schemas.microsoft.com/office/drawing/2014/main" id="{C9732829-264B-124A-8080-3CBD92EBB6A4}"/>
              </a:ext>
            </a:extLst>
          </p:cNvPr>
          <p:cNvSpPr/>
          <p:nvPr/>
        </p:nvSpPr>
        <p:spPr bwMode="auto">
          <a:xfrm>
            <a:off x="2398402" y="1005628"/>
            <a:ext cx="1686199" cy="969841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  <a:prstDash val="sysDash"/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vert="horz" wrap="square" lIns="0" tIns="0" rIns="0" bIns="0" numCol="1" rtlCol="0" anchor="t" anchorCtr="0" compatLnSpc="1"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zh-CN" altLang="en-US" sz="1200" b="1" kern="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1" name="矩形 60">
            <a:extLst>
              <a:ext uri="{FF2B5EF4-FFF2-40B4-BE49-F238E27FC236}">
                <a16:creationId xmlns:a16="http://schemas.microsoft.com/office/drawing/2014/main" id="{D8ACF05D-6259-4F4A-9DDB-7FA85004EB38}"/>
              </a:ext>
            </a:extLst>
          </p:cNvPr>
          <p:cNvSpPr/>
          <p:nvPr/>
        </p:nvSpPr>
        <p:spPr>
          <a:xfrm>
            <a:off x="1775081" y="1045573"/>
            <a:ext cx="1998363" cy="211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zh-CN" altLang="en-US" sz="1200" b="1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点登录</a:t>
            </a:r>
            <a:endParaRPr lang="zh-CN" altLang="en-US" sz="1200" b="1" kern="0" dirty="0">
              <a:solidFill>
                <a:schemeClr val="bg1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2" name="文本框 61">
            <a:extLst>
              <a:ext uri="{FF2B5EF4-FFF2-40B4-BE49-F238E27FC236}">
                <a16:creationId xmlns:a16="http://schemas.microsoft.com/office/drawing/2014/main" id="{8EA6450F-0C6C-5645-96D4-A68BE32A4885}"/>
              </a:ext>
            </a:extLst>
          </p:cNvPr>
          <p:cNvSpPr txBox="1"/>
          <p:nvPr/>
        </p:nvSpPr>
        <p:spPr>
          <a:xfrm>
            <a:off x="2464596" y="1330299"/>
            <a:ext cx="1544303" cy="277195"/>
          </a:xfrm>
          <a:prstGeom prst="rect">
            <a:avLst/>
          </a:prstGeom>
          <a:solidFill>
            <a:srgbClr val="00336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69496" tIns="84748" rIns="169496" bIns="84748" rtlCol="0" anchor="ctr"/>
          <a:lstStyle>
            <a:defPPr>
              <a:defRPr lang="en-US"/>
            </a:defPPr>
            <a:lvl1pPr marR="0" lvl="0" indent="0" algn="ctr" defTabSz="129634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ea"/>
              </a:defRPr>
            </a:lvl1pPr>
          </a:lstStyle>
          <a:p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组织架构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3" name="矩形 62">
            <a:extLst>
              <a:ext uri="{FF2B5EF4-FFF2-40B4-BE49-F238E27FC236}">
                <a16:creationId xmlns:a16="http://schemas.microsoft.com/office/drawing/2014/main" id="{AF39B437-1CF0-CB4D-A243-9A64A4773C06}"/>
              </a:ext>
            </a:extLst>
          </p:cNvPr>
          <p:cNvSpPr/>
          <p:nvPr/>
        </p:nvSpPr>
        <p:spPr>
          <a:xfrm>
            <a:off x="2554598" y="3922249"/>
            <a:ext cx="6533118" cy="161033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4" name="文本框 63">
            <a:extLst>
              <a:ext uri="{FF2B5EF4-FFF2-40B4-BE49-F238E27FC236}">
                <a16:creationId xmlns:a16="http://schemas.microsoft.com/office/drawing/2014/main" id="{97F6DA63-BC2E-7549-BCF8-874D7E9F69A9}"/>
              </a:ext>
            </a:extLst>
          </p:cNvPr>
          <p:cNvSpPr txBox="1"/>
          <p:nvPr/>
        </p:nvSpPr>
        <p:spPr>
          <a:xfrm>
            <a:off x="2467293" y="1652837"/>
            <a:ext cx="1544303" cy="277195"/>
          </a:xfrm>
          <a:prstGeom prst="rect">
            <a:avLst/>
          </a:prstGeom>
          <a:solidFill>
            <a:srgbClr val="00336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69496" tIns="84748" rIns="169496" bIns="84748" rtlCol="0" anchor="ctr"/>
          <a:lstStyle>
            <a:defPPr>
              <a:defRPr lang="en-US"/>
            </a:defPPr>
            <a:lvl1pPr marR="0" lvl="0" indent="0" algn="ctr" defTabSz="129634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ea"/>
              </a:defRPr>
            </a:lvl1pPr>
          </a:lstStyle>
          <a:p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用户信息</a:t>
            </a:r>
          </a:p>
        </p:txBody>
      </p:sp>
      <p:sp>
        <p:nvSpPr>
          <p:cNvPr id="65" name="Rectangle 72">
            <a:extLst>
              <a:ext uri="{FF2B5EF4-FFF2-40B4-BE49-F238E27FC236}">
                <a16:creationId xmlns:a16="http://schemas.microsoft.com/office/drawing/2014/main" id="{435CEBEA-33BC-0C43-B0AD-3FD2B202DEF1}"/>
              </a:ext>
            </a:extLst>
          </p:cNvPr>
          <p:cNvSpPr/>
          <p:nvPr/>
        </p:nvSpPr>
        <p:spPr bwMode="auto">
          <a:xfrm>
            <a:off x="4863764" y="979446"/>
            <a:ext cx="1686199" cy="959413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  <a:prstDash val="sysDash"/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vert="horz" wrap="square" lIns="0" tIns="0" rIns="0" bIns="0" numCol="1" rtlCol="0" anchor="t" anchorCtr="0" compatLnSpc="1"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zh-CN" altLang="en-US" sz="1200" b="1" kern="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6" name="矩形 65">
            <a:extLst>
              <a:ext uri="{FF2B5EF4-FFF2-40B4-BE49-F238E27FC236}">
                <a16:creationId xmlns:a16="http://schemas.microsoft.com/office/drawing/2014/main" id="{39A5F380-96D5-224C-B9FC-9EBC52D1EBE7}"/>
              </a:ext>
            </a:extLst>
          </p:cNvPr>
          <p:cNvSpPr/>
          <p:nvPr/>
        </p:nvSpPr>
        <p:spPr>
          <a:xfrm>
            <a:off x="4241126" y="1039491"/>
            <a:ext cx="1998363" cy="211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zh-CN" sz="1200" b="1" kern="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BPM</a:t>
            </a:r>
            <a:r>
              <a:rPr lang="zh-CN" altLang="en-US" sz="1200" b="1" kern="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系统</a:t>
            </a:r>
          </a:p>
        </p:txBody>
      </p:sp>
      <p:sp>
        <p:nvSpPr>
          <p:cNvPr id="67" name="文本框 66">
            <a:extLst>
              <a:ext uri="{FF2B5EF4-FFF2-40B4-BE49-F238E27FC236}">
                <a16:creationId xmlns:a16="http://schemas.microsoft.com/office/drawing/2014/main" id="{48348C76-DF04-A548-950E-54584EE62175}"/>
              </a:ext>
            </a:extLst>
          </p:cNvPr>
          <p:cNvSpPr txBox="1"/>
          <p:nvPr/>
        </p:nvSpPr>
        <p:spPr>
          <a:xfrm>
            <a:off x="4938840" y="1475882"/>
            <a:ext cx="1544303" cy="277195"/>
          </a:xfrm>
          <a:prstGeom prst="rect">
            <a:avLst/>
          </a:prstGeom>
          <a:solidFill>
            <a:srgbClr val="00336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69496" tIns="84748" rIns="169496" bIns="84748" rtlCol="0" anchor="ctr"/>
          <a:lstStyle>
            <a:defPPr>
              <a:defRPr lang="zh-CN"/>
            </a:defPPr>
            <a:lvl1pPr marR="0" lvl="0" indent="0" algn="ctr" defTabSz="129634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69" b="0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sz="1200" dirty="0"/>
              <a:t>审批流程</a:t>
            </a:r>
            <a:endParaRPr lang="en-US" altLang="zh-CN" sz="1200" dirty="0"/>
          </a:p>
        </p:txBody>
      </p:sp>
      <p:grpSp>
        <p:nvGrpSpPr>
          <p:cNvPr id="68" name="组合 20">
            <a:extLst>
              <a:ext uri="{FF2B5EF4-FFF2-40B4-BE49-F238E27FC236}">
                <a16:creationId xmlns:a16="http://schemas.microsoft.com/office/drawing/2014/main" id="{9D9666FA-6C33-BC4E-8765-446F23B80605}"/>
              </a:ext>
            </a:extLst>
          </p:cNvPr>
          <p:cNvGrpSpPr/>
          <p:nvPr/>
        </p:nvGrpSpPr>
        <p:grpSpPr>
          <a:xfrm>
            <a:off x="5659362" y="1989013"/>
            <a:ext cx="112001" cy="381734"/>
            <a:chOff x="5205824" y="3710498"/>
            <a:chExt cx="136162" cy="408211"/>
          </a:xfrm>
        </p:grpSpPr>
        <p:cxnSp>
          <p:nvCxnSpPr>
            <p:cNvPr id="100" name="直接连接符 21">
              <a:extLst>
                <a:ext uri="{FF2B5EF4-FFF2-40B4-BE49-F238E27FC236}">
                  <a16:creationId xmlns:a16="http://schemas.microsoft.com/office/drawing/2014/main" id="{0DD248D8-793B-3A4A-9F8E-A0010922038B}"/>
                </a:ext>
              </a:extLst>
            </p:cNvPr>
            <p:cNvCxnSpPr/>
            <p:nvPr/>
          </p:nvCxnSpPr>
          <p:spPr>
            <a:xfrm>
              <a:off x="5205824" y="3719911"/>
              <a:ext cx="0" cy="395208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直接连接符 22">
              <a:extLst>
                <a:ext uri="{FF2B5EF4-FFF2-40B4-BE49-F238E27FC236}">
                  <a16:creationId xmlns:a16="http://schemas.microsoft.com/office/drawing/2014/main" id="{29DE0739-9FF1-9543-9084-16014C22D7BA}"/>
                </a:ext>
              </a:extLst>
            </p:cNvPr>
            <p:cNvCxnSpPr/>
            <p:nvPr/>
          </p:nvCxnSpPr>
          <p:spPr>
            <a:xfrm flipV="1">
              <a:off x="5341986" y="3710498"/>
              <a:ext cx="0" cy="408211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69" name="直接连接符 66">
            <a:extLst>
              <a:ext uri="{FF2B5EF4-FFF2-40B4-BE49-F238E27FC236}">
                <a16:creationId xmlns:a16="http://schemas.microsoft.com/office/drawing/2014/main" id="{D9F3A34F-F8E0-B54C-93F8-B79FCBEF62E2}"/>
              </a:ext>
            </a:extLst>
          </p:cNvPr>
          <p:cNvCxnSpPr/>
          <p:nvPr/>
        </p:nvCxnSpPr>
        <p:spPr>
          <a:xfrm>
            <a:off x="3247241" y="1989669"/>
            <a:ext cx="0" cy="369575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矩形 69">
            <a:extLst>
              <a:ext uri="{FF2B5EF4-FFF2-40B4-BE49-F238E27FC236}">
                <a16:creationId xmlns:a16="http://schemas.microsoft.com/office/drawing/2014/main" id="{FEE7B62B-8EBA-D440-B1C0-1779110689D0}"/>
              </a:ext>
            </a:extLst>
          </p:cNvPr>
          <p:cNvSpPr/>
          <p:nvPr/>
        </p:nvSpPr>
        <p:spPr>
          <a:xfrm>
            <a:off x="2936277" y="3705694"/>
            <a:ext cx="1998363" cy="211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zh-CN" sz="1200" b="1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endParaRPr lang="zh-CN" altLang="en-US" sz="1200" b="1" kern="0" dirty="0">
              <a:solidFill>
                <a:schemeClr val="bg1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1" name="矩形 70">
            <a:extLst>
              <a:ext uri="{FF2B5EF4-FFF2-40B4-BE49-F238E27FC236}">
                <a16:creationId xmlns:a16="http://schemas.microsoft.com/office/drawing/2014/main" id="{20894EA4-20D0-9C42-933B-384BA9B12983}"/>
              </a:ext>
            </a:extLst>
          </p:cNvPr>
          <p:cNvSpPr/>
          <p:nvPr/>
        </p:nvSpPr>
        <p:spPr>
          <a:xfrm>
            <a:off x="1266496" y="1007301"/>
            <a:ext cx="624287" cy="970088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b="1" dirty="0">
                <a:solidFill>
                  <a:schemeClr val="bg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需对接系统</a:t>
            </a:r>
          </a:p>
        </p:txBody>
      </p:sp>
      <p:sp>
        <p:nvSpPr>
          <p:cNvPr id="72" name="Rectangle 14">
            <a:extLst>
              <a:ext uri="{FF2B5EF4-FFF2-40B4-BE49-F238E27FC236}">
                <a16:creationId xmlns:a16="http://schemas.microsoft.com/office/drawing/2014/main" id="{02157332-7C5C-8041-BA5D-11E8FC6D4BE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17237" y="4435579"/>
            <a:ext cx="2423206" cy="329101"/>
          </a:xfrm>
          <a:prstGeom prst="rect">
            <a:avLst/>
          </a:prstGeom>
          <a:solidFill>
            <a:srgbClr val="BF9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19557" tIns="59779" rIns="119557" bIns="5977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标准化模块管理</a:t>
            </a:r>
          </a:p>
        </p:txBody>
      </p:sp>
      <p:sp>
        <p:nvSpPr>
          <p:cNvPr id="73" name="矩形 72">
            <a:extLst>
              <a:ext uri="{FF2B5EF4-FFF2-40B4-BE49-F238E27FC236}">
                <a16:creationId xmlns:a16="http://schemas.microsoft.com/office/drawing/2014/main" id="{5D829574-1F3A-B545-AE4C-6D3C67304A9E}"/>
              </a:ext>
            </a:extLst>
          </p:cNvPr>
          <p:cNvSpPr/>
          <p:nvPr/>
        </p:nvSpPr>
        <p:spPr>
          <a:xfrm>
            <a:off x="2089290" y="4999751"/>
            <a:ext cx="1998363" cy="211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zh-CN" altLang="en-US" sz="1200" b="1" kern="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系统管理</a:t>
            </a:r>
          </a:p>
        </p:txBody>
      </p:sp>
      <p:sp>
        <p:nvSpPr>
          <p:cNvPr id="75" name="Rectangle 72">
            <a:extLst>
              <a:ext uri="{FF2B5EF4-FFF2-40B4-BE49-F238E27FC236}">
                <a16:creationId xmlns:a16="http://schemas.microsoft.com/office/drawing/2014/main" id="{2CC98F7B-6EC7-A649-BE45-2617B2F10D7A}"/>
              </a:ext>
            </a:extLst>
          </p:cNvPr>
          <p:cNvSpPr/>
          <p:nvPr/>
        </p:nvSpPr>
        <p:spPr bwMode="auto">
          <a:xfrm>
            <a:off x="7563265" y="975316"/>
            <a:ext cx="1686199" cy="959413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  <a:prstDash val="sysDash"/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vert="horz" wrap="square" lIns="0" tIns="0" rIns="0" bIns="0" numCol="1" rtlCol="0" anchor="t" anchorCtr="0" compatLnSpc="1"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zh-CN" altLang="en-US" sz="1200" b="1" kern="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6" name="文本框 75">
            <a:extLst>
              <a:ext uri="{FF2B5EF4-FFF2-40B4-BE49-F238E27FC236}">
                <a16:creationId xmlns:a16="http://schemas.microsoft.com/office/drawing/2014/main" id="{361B7E3A-B7AB-C540-B63A-9BB5FA75ED02}"/>
              </a:ext>
            </a:extLst>
          </p:cNvPr>
          <p:cNvSpPr txBox="1"/>
          <p:nvPr/>
        </p:nvSpPr>
        <p:spPr>
          <a:xfrm>
            <a:off x="7634212" y="1441940"/>
            <a:ext cx="1544303" cy="277195"/>
          </a:xfrm>
          <a:prstGeom prst="rect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69496" tIns="84748" rIns="169496" bIns="84748" rtlCol="0" anchor="ctr"/>
          <a:lstStyle>
            <a:defPPr>
              <a:defRPr lang="zh-CN"/>
            </a:defPPr>
            <a:lvl1pPr marR="0" lvl="0" indent="0" algn="ctr" defTabSz="129634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69" b="0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sz="1200" dirty="0"/>
              <a:t>成本清单</a:t>
            </a:r>
            <a:endParaRPr lang="en-US" altLang="zh-CN" sz="1200" dirty="0"/>
          </a:p>
        </p:txBody>
      </p:sp>
      <p:grpSp>
        <p:nvGrpSpPr>
          <p:cNvPr id="77" name="组合 20">
            <a:extLst>
              <a:ext uri="{FF2B5EF4-FFF2-40B4-BE49-F238E27FC236}">
                <a16:creationId xmlns:a16="http://schemas.microsoft.com/office/drawing/2014/main" id="{04F3E7FE-4CF9-1742-B681-3DD415D2F5A4}"/>
              </a:ext>
            </a:extLst>
          </p:cNvPr>
          <p:cNvGrpSpPr/>
          <p:nvPr/>
        </p:nvGrpSpPr>
        <p:grpSpPr>
          <a:xfrm>
            <a:off x="8358863" y="1984883"/>
            <a:ext cx="112001" cy="381734"/>
            <a:chOff x="5205824" y="3710498"/>
            <a:chExt cx="136162" cy="408211"/>
          </a:xfrm>
        </p:grpSpPr>
        <p:cxnSp>
          <p:nvCxnSpPr>
            <p:cNvPr id="98" name="直接连接符 21">
              <a:extLst>
                <a:ext uri="{FF2B5EF4-FFF2-40B4-BE49-F238E27FC236}">
                  <a16:creationId xmlns:a16="http://schemas.microsoft.com/office/drawing/2014/main" id="{82BEE490-5FDF-364A-8372-E8604BB72AE7}"/>
                </a:ext>
              </a:extLst>
            </p:cNvPr>
            <p:cNvCxnSpPr/>
            <p:nvPr/>
          </p:nvCxnSpPr>
          <p:spPr>
            <a:xfrm>
              <a:off x="5205824" y="3719911"/>
              <a:ext cx="0" cy="395208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直接连接符 22">
              <a:extLst>
                <a:ext uri="{FF2B5EF4-FFF2-40B4-BE49-F238E27FC236}">
                  <a16:creationId xmlns:a16="http://schemas.microsoft.com/office/drawing/2014/main" id="{0A5121AF-2F6E-F344-9D75-4B543F2B39F3}"/>
                </a:ext>
              </a:extLst>
            </p:cNvPr>
            <p:cNvCxnSpPr/>
            <p:nvPr/>
          </p:nvCxnSpPr>
          <p:spPr>
            <a:xfrm flipV="1">
              <a:off x="5341986" y="3710498"/>
              <a:ext cx="0" cy="408211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8" name="矩形 77">
            <a:extLst>
              <a:ext uri="{FF2B5EF4-FFF2-40B4-BE49-F238E27FC236}">
                <a16:creationId xmlns:a16="http://schemas.microsoft.com/office/drawing/2014/main" id="{532A93D9-B57E-1F41-BD67-BEBA4C236D82}"/>
              </a:ext>
            </a:extLst>
          </p:cNvPr>
          <p:cNvSpPr/>
          <p:nvPr/>
        </p:nvSpPr>
        <p:spPr>
          <a:xfrm>
            <a:off x="6957987" y="1034180"/>
            <a:ext cx="1998363" cy="211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zh-CN" altLang="en-US" sz="1200" b="1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成本</a:t>
            </a:r>
            <a:r>
              <a:rPr lang="zh-CN" altLang="en-US" sz="1200" b="1" kern="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系统</a:t>
            </a:r>
          </a:p>
        </p:txBody>
      </p:sp>
      <p:sp>
        <p:nvSpPr>
          <p:cNvPr id="79" name="矩形 78">
            <a:extLst>
              <a:ext uri="{FF2B5EF4-FFF2-40B4-BE49-F238E27FC236}">
                <a16:creationId xmlns:a16="http://schemas.microsoft.com/office/drawing/2014/main" id="{BC8C4849-5C6A-A04B-93C9-67E962AE8D53}"/>
              </a:ext>
            </a:extLst>
          </p:cNvPr>
          <p:cNvSpPr/>
          <p:nvPr/>
        </p:nvSpPr>
        <p:spPr>
          <a:xfrm>
            <a:off x="2554598" y="2497667"/>
            <a:ext cx="6533118" cy="134337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8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0" name="矩形 79">
            <a:extLst>
              <a:ext uri="{FF2B5EF4-FFF2-40B4-BE49-F238E27FC236}">
                <a16:creationId xmlns:a16="http://schemas.microsoft.com/office/drawing/2014/main" id="{CE2AF296-2BE1-9F4B-8D37-A1AD03D45996}"/>
              </a:ext>
            </a:extLst>
          </p:cNvPr>
          <p:cNvSpPr/>
          <p:nvPr/>
        </p:nvSpPr>
        <p:spPr>
          <a:xfrm>
            <a:off x="4711809" y="2526270"/>
            <a:ext cx="1998363" cy="211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zh-CN" sz="1200" b="1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</a:t>
            </a:r>
            <a:r>
              <a:rPr lang="zh-CN" altLang="en-US" sz="1200" b="1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前台功能模块</a:t>
            </a:r>
            <a:endParaRPr lang="zh-CN" altLang="en-US" sz="1200" b="1" kern="0" dirty="0">
              <a:solidFill>
                <a:schemeClr val="bg1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1" name="Rectangle 14">
            <a:extLst>
              <a:ext uri="{FF2B5EF4-FFF2-40B4-BE49-F238E27FC236}">
                <a16:creationId xmlns:a16="http://schemas.microsoft.com/office/drawing/2014/main" id="{91520883-C3E7-DF42-A097-E93994E789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32038" y="2993200"/>
            <a:ext cx="1299499" cy="319791"/>
          </a:xfrm>
          <a:prstGeom prst="rect">
            <a:avLst/>
          </a:prstGeom>
          <a:solidFill>
            <a:srgbClr val="BF9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19557" tIns="59779" rIns="119557" bIns="5977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库内搜索</a:t>
            </a:r>
          </a:p>
        </p:txBody>
      </p:sp>
      <p:sp>
        <p:nvSpPr>
          <p:cNvPr id="82" name="Rectangle 14">
            <a:extLst>
              <a:ext uri="{FF2B5EF4-FFF2-40B4-BE49-F238E27FC236}">
                <a16:creationId xmlns:a16="http://schemas.microsoft.com/office/drawing/2014/main" id="{F6460C06-B92C-5F49-A200-D6477DC3539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67197" y="2987818"/>
            <a:ext cx="1404166" cy="319791"/>
          </a:xfrm>
          <a:prstGeom prst="rect">
            <a:avLst/>
          </a:prstGeom>
          <a:solidFill>
            <a:srgbClr val="BF9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19557" tIns="59779" rIns="119557" bIns="5977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参数化动态生成</a:t>
            </a:r>
          </a:p>
        </p:txBody>
      </p:sp>
      <p:sp>
        <p:nvSpPr>
          <p:cNvPr id="83" name="Rectangle 14">
            <a:extLst>
              <a:ext uri="{FF2B5EF4-FFF2-40B4-BE49-F238E27FC236}">
                <a16:creationId xmlns:a16="http://schemas.microsoft.com/office/drawing/2014/main" id="{D9CEFB41-CA9C-1945-93E2-1FE5337812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54986" y="2986737"/>
            <a:ext cx="1299499" cy="319791"/>
          </a:xfrm>
          <a:prstGeom prst="rect">
            <a:avLst/>
          </a:prstGeom>
          <a:solidFill>
            <a:srgbClr val="BF9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19557" tIns="59779" rIns="119557" bIns="5977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成本算量</a:t>
            </a:r>
          </a:p>
        </p:txBody>
      </p:sp>
      <p:sp>
        <p:nvSpPr>
          <p:cNvPr id="84" name="Rectangle 14">
            <a:extLst>
              <a:ext uri="{FF2B5EF4-FFF2-40B4-BE49-F238E27FC236}">
                <a16:creationId xmlns:a16="http://schemas.microsoft.com/office/drawing/2014/main" id="{EA3F8229-C3CD-BE48-8217-EBC29230A8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67781" y="2986737"/>
            <a:ext cx="1299499" cy="319791"/>
          </a:xfrm>
          <a:prstGeom prst="rect">
            <a:avLst/>
          </a:prstGeom>
          <a:solidFill>
            <a:srgbClr val="BF9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19557" tIns="59779" rIns="119557" bIns="5977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属性关系匹配</a:t>
            </a:r>
          </a:p>
        </p:txBody>
      </p:sp>
      <p:sp>
        <p:nvSpPr>
          <p:cNvPr id="85" name="Rectangle 14">
            <a:extLst>
              <a:ext uri="{FF2B5EF4-FFF2-40B4-BE49-F238E27FC236}">
                <a16:creationId xmlns:a16="http://schemas.microsoft.com/office/drawing/2014/main" id="{12901B8A-3751-104B-8AD1-3B4EF5B9737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41873" y="4995248"/>
            <a:ext cx="1141452" cy="331281"/>
          </a:xfrm>
          <a:prstGeom prst="rect">
            <a:avLst/>
          </a:prstGeom>
          <a:solidFill>
            <a:srgbClr val="BF9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19557" tIns="59779" rIns="119557" bIns="5977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账号管理</a:t>
            </a:r>
          </a:p>
        </p:txBody>
      </p:sp>
      <p:sp>
        <p:nvSpPr>
          <p:cNvPr id="86" name="Rectangle 14">
            <a:extLst>
              <a:ext uri="{FF2B5EF4-FFF2-40B4-BE49-F238E27FC236}">
                <a16:creationId xmlns:a16="http://schemas.microsoft.com/office/drawing/2014/main" id="{1B266DC7-D78D-6E49-B23A-A471FEA0017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98991" y="4995248"/>
            <a:ext cx="1141452" cy="331281"/>
          </a:xfrm>
          <a:prstGeom prst="rect">
            <a:avLst/>
          </a:prstGeom>
          <a:solidFill>
            <a:srgbClr val="BF9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19557" tIns="59779" rIns="119557" bIns="5977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权限管理</a:t>
            </a:r>
          </a:p>
        </p:txBody>
      </p:sp>
      <p:sp>
        <p:nvSpPr>
          <p:cNvPr id="87" name="Rectangle 14">
            <a:extLst>
              <a:ext uri="{FF2B5EF4-FFF2-40B4-BE49-F238E27FC236}">
                <a16:creationId xmlns:a16="http://schemas.microsoft.com/office/drawing/2014/main" id="{308AC8A5-6616-7B41-BC2B-E3834572D6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84022" y="4983603"/>
            <a:ext cx="1141452" cy="331281"/>
          </a:xfrm>
          <a:prstGeom prst="rect">
            <a:avLst/>
          </a:prstGeom>
          <a:solidFill>
            <a:srgbClr val="BF9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19557" tIns="59779" rIns="119557" bIns="5977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菜单管理</a:t>
            </a:r>
          </a:p>
        </p:txBody>
      </p:sp>
      <p:sp>
        <p:nvSpPr>
          <p:cNvPr id="88" name="矩形 87">
            <a:extLst>
              <a:ext uri="{FF2B5EF4-FFF2-40B4-BE49-F238E27FC236}">
                <a16:creationId xmlns:a16="http://schemas.microsoft.com/office/drawing/2014/main" id="{E91756A5-C4FC-8844-96A2-D8EB4C4C122A}"/>
              </a:ext>
            </a:extLst>
          </p:cNvPr>
          <p:cNvSpPr/>
          <p:nvPr/>
        </p:nvSpPr>
        <p:spPr>
          <a:xfrm>
            <a:off x="2089290" y="4487696"/>
            <a:ext cx="1998363" cy="211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zh-CN" altLang="en-US" sz="1200" b="1" kern="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管理模块</a:t>
            </a:r>
          </a:p>
        </p:txBody>
      </p:sp>
      <p:sp>
        <p:nvSpPr>
          <p:cNvPr id="89" name="Rectangle 14">
            <a:extLst>
              <a:ext uri="{FF2B5EF4-FFF2-40B4-BE49-F238E27FC236}">
                <a16:creationId xmlns:a16="http://schemas.microsoft.com/office/drawing/2014/main" id="{17F04BEC-1859-2D43-A0C8-924CC4609B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32006" y="3411839"/>
            <a:ext cx="6224311" cy="319791"/>
          </a:xfrm>
          <a:prstGeom prst="rect">
            <a:avLst/>
          </a:prstGeom>
          <a:solidFill>
            <a:srgbClr val="BF9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19557" tIns="59779" rIns="119557" bIns="5977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外部账号登陆</a:t>
            </a:r>
          </a:p>
        </p:txBody>
      </p:sp>
      <p:sp>
        <p:nvSpPr>
          <p:cNvPr id="90" name="矩形 89">
            <a:extLst>
              <a:ext uri="{FF2B5EF4-FFF2-40B4-BE49-F238E27FC236}">
                <a16:creationId xmlns:a16="http://schemas.microsoft.com/office/drawing/2014/main" id="{77C319FC-2A67-044A-91F6-AF686027B91C}"/>
              </a:ext>
            </a:extLst>
          </p:cNvPr>
          <p:cNvSpPr/>
          <p:nvPr/>
        </p:nvSpPr>
        <p:spPr>
          <a:xfrm>
            <a:off x="4752138" y="4039575"/>
            <a:ext cx="1998363" cy="211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zh-CN" sz="1200" b="1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</a:t>
            </a:r>
            <a:r>
              <a:rPr lang="zh-CN" altLang="en-US" sz="1200" b="1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后台功能模块</a:t>
            </a:r>
            <a:endParaRPr lang="zh-CN" altLang="en-US" sz="1200" b="1" kern="0" dirty="0">
              <a:solidFill>
                <a:schemeClr val="bg1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1" name="Rectangle 14">
            <a:extLst>
              <a:ext uri="{FF2B5EF4-FFF2-40B4-BE49-F238E27FC236}">
                <a16:creationId xmlns:a16="http://schemas.microsoft.com/office/drawing/2014/main" id="{B6702594-EA86-7C43-AB0D-3496B2EA418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77432" y="4983603"/>
            <a:ext cx="1141452" cy="331281"/>
          </a:xfrm>
          <a:prstGeom prst="rect">
            <a:avLst/>
          </a:prstGeom>
          <a:solidFill>
            <a:srgbClr val="BF9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19557" tIns="59779" rIns="119557" bIns="5977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日志管理</a:t>
            </a:r>
          </a:p>
        </p:txBody>
      </p:sp>
      <p:grpSp>
        <p:nvGrpSpPr>
          <p:cNvPr id="92" name="组 1">
            <a:extLst>
              <a:ext uri="{FF2B5EF4-FFF2-40B4-BE49-F238E27FC236}">
                <a16:creationId xmlns:a16="http://schemas.microsoft.com/office/drawing/2014/main" id="{F903BE34-9561-1B4E-89BC-16F0E46426F9}"/>
              </a:ext>
            </a:extLst>
          </p:cNvPr>
          <p:cNvGrpSpPr/>
          <p:nvPr/>
        </p:nvGrpSpPr>
        <p:grpSpPr>
          <a:xfrm>
            <a:off x="9355334" y="5793501"/>
            <a:ext cx="2353189" cy="659845"/>
            <a:chOff x="63168" y="12044776"/>
            <a:chExt cx="6141666" cy="1238869"/>
          </a:xfrm>
        </p:grpSpPr>
        <p:sp>
          <p:nvSpPr>
            <p:cNvPr id="93" name="矩形 92">
              <a:extLst>
                <a:ext uri="{FF2B5EF4-FFF2-40B4-BE49-F238E27FC236}">
                  <a16:creationId xmlns:a16="http://schemas.microsoft.com/office/drawing/2014/main" id="{D462564F-17B5-CC4C-837B-C840E6A1130F}"/>
                </a:ext>
              </a:extLst>
            </p:cNvPr>
            <p:cNvSpPr/>
            <p:nvPr/>
          </p:nvSpPr>
          <p:spPr>
            <a:xfrm>
              <a:off x="63168" y="12044776"/>
              <a:ext cx="6141666" cy="1238869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76717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400"/>
            </a:p>
          </p:txBody>
        </p:sp>
        <p:sp>
          <p:nvSpPr>
            <p:cNvPr id="94" name="Rectangle 14">
              <a:extLst>
                <a:ext uri="{FF2B5EF4-FFF2-40B4-BE49-F238E27FC236}">
                  <a16:creationId xmlns:a16="http://schemas.microsoft.com/office/drawing/2014/main" id="{5F626D3E-318D-8347-8D39-CB0E368DC68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15212" y="12231078"/>
              <a:ext cx="1225010" cy="90703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19557" tIns="59779" rIns="119557" bIns="5977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zh-CN" altLang="en-US" sz="7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一期系统功能</a:t>
              </a:r>
              <a:endParaRPr lang="en-US" altLang="zh-CN" sz="7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5" name="文本框 94">
              <a:extLst>
                <a:ext uri="{FF2B5EF4-FFF2-40B4-BE49-F238E27FC236}">
                  <a16:creationId xmlns:a16="http://schemas.microsoft.com/office/drawing/2014/main" id="{DB52E89A-C5E6-0844-A042-E6DF859AE5D7}"/>
                </a:ext>
              </a:extLst>
            </p:cNvPr>
            <p:cNvSpPr txBox="1"/>
            <p:nvPr/>
          </p:nvSpPr>
          <p:spPr>
            <a:xfrm>
              <a:off x="283757" y="12207541"/>
              <a:ext cx="820346" cy="66233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图例</a:t>
              </a:r>
            </a:p>
          </p:txBody>
        </p:sp>
        <p:sp>
          <p:nvSpPr>
            <p:cNvPr id="96" name="文本框 95">
              <a:extLst>
                <a:ext uri="{FF2B5EF4-FFF2-40B4-BE49-F238E27FC236}">
                  <a16:creationId xmlns:a16="http://schemas.microsoft.com/office/drawing/2014/main" id="{8C49CDB3-9607-0E47-9B25-1AA40A6DB368}"/>
                </a:ext>
              </a:extLst>
            </p:cNvPr>
            <p:cNvSpPr txBox="1"/>
            <p:nvPr/>
          </p:nvSpPr>
          <p:spPr>
            <a:xfrm>
              <a:off x="1324693" y="12235091"/>
              <a:ext cx="1369932" cy="903016"/>
            </a:xfrm>
            <a:prstGeom prst="rect">
              <a:avLst/>
            </a:prstGeom>
            <a:solidFill>
              <a:srgbClr val="00336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169496" tIns="84748" rIns="169496" bIns="84748" rtlCol="0" anchor="ctr"/>
            <a:lstStyle>
              <a:defPPr marL="0" marR="0" indent="0" algn="l" defTabSz="9144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</a:defRPr>
              </a:defPPr>
              <a:lvl1pPr lvl="0" defTabSz="1296345">
                <a:defRPr sz="2400" kern="0">
                  <a:solidFill>
                    <a:srgbClr val="FFFFFF"/>
                  </a:solidFill>
                  <a:uLnTx/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pPr algn="ctr"/>
              <a:r>
                <a:rPr lang="zh-CN" altLang="en-US" sz="700" dirty="0"/>
                <a:t>外部系统功能</a:t>
              </a:r>
              <a:endParaRPr lang="en-US" altLang="zh-CN" sz="700" dirty="0"/>
            </a:p>
          </p:txBody>
        </p:sp>
        <p:sp>
          <p:nvSpPr>
            <p:cNvPr id="97" name="Rectangle 14">
              <a:extLst>
                <a:ext uri="{FF2B5EF4-FFF2-40B4-BE49-F238E27FC236}">
                  <a16:creationId xmlns:a16="http://schemas.microsoft.com/office/drawing/2014/main" id="{C2CD9764-6741-B841-9ECE-19149E8A4E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11609" y="12231078"/>
              <a:ext cx="1225010" cy="90703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19557" tIns="59779" rIns="119557" bIns="5977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zh-CN" altLang="en-US" sz="7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二期系统功能</a:t>
              </a:r>
              <a:endParaRPr lang="en-US" altLang="zh-CN" sz="7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102" name="Rectangle 14">
            <a:extLst>
              <a:ext uri="{FF2B5EF4-FFF2-40B4-BE49-F238E27FC236}">
                <a16:creationId xmlns:a16="http://schemas.microsoft.com/office/drawing/2014/main" id="{A82407BD-AF4C-664C-A829-CCA1C4E88F7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85206" y="4415546"/>
            <a:ext cx="2423206" cy="329101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19557" tIns="59779" rIns="119557" bIns="5977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设计成果共享</a:t>
            </a:r>
          </a:p>
        </p:txBody>
      </p:sp>
    </p:spTree>
    <p:extLst>
      <p:ext uri="{BB962C8B-B14F-4D97-AF65-F5344CB8AC3E}">
        <p14:creationId xmlns:p14="http://schemas.microsoft.com/office/powerpoint/2010/main" val="45302830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组合 57">
            <a:extLst>
              <a:ext uri="{FF2B5EF4-FFF2-40B4-BE49-F238E27FC236}">
                <a16:creationId xmlns:a16="http://schemas.microsoft.com/office/drawing/2014/main" id="{E4B37EDE-76B4-614A-BF6E-1FE5D57407DE}"/>
              </a:ext>
            </a:extLst>
          </p:cNvPr>
          <p:cNvGrpSpPr/>
          <p:nvPr/>
        </p:nvGrpSpPr>
        <p:grpSpPr>
          <a:xfrm>
            <a:off x="2364716" y="1009403"/>
            <a:ext cx="7075924" cy="5332020"/>
            <a:chOff x="460778" y="1023187"/>
            <a:chExt cx="6194239" cy="5124451"/>
          </a:xfrm>
        </p:grpSpPr>
        <p:sp>
          <p:nvSpPr>
            <p:cNvPr id="7" name="矩形 6">
              <a:extLst>
                <a:ext uri="{FF2B5EF4-FFF2-40B4-BE49-F238E27FC236}">
                  <a16:creationId xmlns:a16="http://schemas.microsoft.com/office/drawing/2014/main" id="{06E30EF2-CB26-084C-8407-703ABAD369E8}"/>
                </a:ext>
              </a:extLst>
            </p:cNvPr>
            <p:cNvSpPr/>
            <p:nvPr/>
          </p:nvSpPr>
          <p:spPr>
            <a:xfrm>
              <a:off x="2516606" y="1023187"/>
              <a:ext cx="2021306" cy="589547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zh-CN" altLang="en-US" sz="1400" dirty="0"/>
                <a:t>项目指导委员会</a:t>
              </a:r>
              <a:endParaRPr kumimoji="1" lang="en-US" altLang="zh-CN" sz="1400" dirty="0"/>
            </a:p>
            <a:p>
              <a:pPr algn="ctr"/>
              <a:r>
                <a:rPr kumimoji="1" lang="zh-CN" altLang="en-US" sz="1100" dirty="0"/>
                <a:t>（李淑娟、许鹏）</a:t>
              </a:r>
            </a:p>
          </p:txBody>
        </p:sp>
        <p:sp>
          <p:nvSpPr>
            <p:cNvPr id="15" name="矩形 14">
              <a:extLst>
                <a:ext uri="{FF2B5EF4-FFF2-40B4-BE49-F238E27FC236}">
                  <a16:creationId xmlns:a16="http://schemas.microsoft.com/office/drawing/2014/main" id="{7DB7810E-66D8-6F48-A33D-F02FA5398462}"/>
                </a:ext>
              </a:extLst>
            </p:cNvPr>
            <p:cNvSpPr/>
            <p:nvPr/>
          </p:nvSpPr>
          <p:spPr>
            <a:xfrm>
              <a:off x="2516606" y="2003764"/>
              <a:ext cx="2021306" cy="589547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50000"/>
                </a:lnSpc>
              </a:pPr>
              <a:r>
                <a:rPr kumimoji="1" lang="zh-CN" altLang="en-US" sz="1400" dirty="0"/>
                <a:t>项目总监</a:t>
              </a:r>
              <a:endParaRPr kumimoji="1" lang="en-US" altLang="zh-CN" sz="1400" dirty="0"/>
            </a:p>
            <a:p>
              <a:pPr algn="ctr"/>
              <a:r>
                <a:rPr kumimoji="1" lang="zh-CN" altLang="en-US" sz="1100" dirty="0"/>
                <a:t>（胡磊帆、郝博兴）</a:t>
              </a:r>
            </a:p>
          </p:txBody>
        </p:sp>
        <p:sp>
          <p:nvSpPr>
            <p:cNvPr id="21" name="矩形 20">
              <a:extLst>
                <a:ext uri="{FF2B5EF4-FFF2-40B4-BE49-F238E27FC236}">
                  <a16:creationId xmlns:a16="http://schemas.microsoft.com/office/drawing/2014/main" id="{1FB2817B-3678-BF48-9D6B-399D8DED79C5}"/>
                </a:ext>
              </a:extLst>
            </p:cNvPr>
            <p:cNvSpPr/>
            <p:nvPr/>
          </p:nvSpPr>
          <p:spPr>
            <a:xfrm>
              <a:off x="495300" y="3046999"/>
              <a:ext cx="2021306" cy="589547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zh-CN" altLang="en-US" sz="1400" dirty="0"/>
                <a:t>业务项目经理</a:t>
              </a:r>
              <a:endParaRPr kumimoji="1" lang="en-US" altLang="zh-CN" sz="1400" dirty="0"/>
            </a:p>
            <a:p>
              <a:pPr algn="ctr"/>
              <a:r>
                <a:rPr kumimoji="1" lang="zh-CN" altLang="en-US" sz="1100" dirty="0"/>
                <a:t>（常涵雅）</a:t>
              </a:r>
            </a:p>
          </p:txBody>
        </p:sp>
        <p:sp>
          <p:nvSpPr>
            <p:cNvPr id="22" name="矩形 21">
              <a:extLst>
                <a:ext uri="{FF2B5EF4-FFF2-40B4-BE49-F238E27FC236}">
                  <a16:creationId xmlns:a16="http://schemas.microsoft.com/office/drawing/2014/main" id="{72120149-0335-9349-9309-66B82FEB561E}"/>
                </a:ext>
              </a:extLst>
            </p:cNvPr>
            <p:cNvSpPr/>
            <p:nvPr/>
          </p:nvSpPr>
          <p:spPr>
            <a:xfrm>
              <a:off x="2516606" y="3046999"/>
              <a:ext cx="2021306" cy="589547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zh-CN" altLang="en-US" sz="1400" dirty="0"/>
                <a:t>信息项目经理</a:t>
              </a:r>
              <a:endParaRPr kumimoji="1" lang="en-US" altLang="zh-CN" sz="1400" dirty="0"/>
            </a:p>
            <a:p>
              <a:pPr algn="ctr">
                <a:lnSpc>
                  <a:spcPct val="150000"/>
                </a:lnSpc>
              </a:pPr>
              <a:r>
                <a:rPr kumimoji="1" lang="zh-CN" altLang="en-US" sz="1100" dirty="0"/>
                <a:t>（赵阳）</a:t>
              </a:r>
            </a:p>
          </p:txBody>
        </p:sp>
        <p:sp>
          <p:nvSpPr>
            <p:cNvPr id="23" name="矩形 22">
              <a:extLst>
                <a:ext uri="{FF2B5EF4-FFF2-40B4-BE49-F238E27FC236}">
                  <a16:creationId xmlns:a16="http://schemas.microsoft.com/office/drawing/2014/main" id="{01A56F7E-7B6D-F840-BE11-2CEA64EBF981}"/>
                </a:ext>
              </a:extLst>
            </p:cNvPr>
            <p:cNvSpPr/>
            <p:nvPr/>
          </p:nvSpPr>
          <p:spPr>
            <a:xfrm>
              <a:off x="4537912" y="3046998"/>
              <a:ext cx="2021306" cy="589547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zh-CN" altLang="en-US" sz="1400" dirty="0"/>
                <a:t>乙方项目经理</a:t>
              </a:r>
              <a:endParaRPr kumimoji="1" lang="en-US" altLang="zh-CN" sz="1400" dirty="0"/>
            </a:p>
            <a:p>
              <a:pPr algn="ctr">
                <a:lnSpc>
                  <a:spcPct val="150000"/>
                </a:lnSpc>
              </a:pPr>
              <a:r>
                <a:rPr kumimoji="1" lang="zh-CN" altLang="en-US" sz="1100" dirty="0"/>
                <a:t>（韩德福）</a:t>
              </a:r>
            </a:p>
          </p:txBody>
        </p:sp>
        <p:sp>
          <p:nvSpPr>
            <p:cNvPr id="24" name="矩形 23">
              <a:extLst>
                <a:ext uri="{FF2B5EF4-FFF2-40B4-BE49-F238E27FC236}">
                  <a16:creationId xmlns:a16="http://schemas.microsoft.com/office/drawing/2014/main" id="{F45EF67D-F2C6-5740-A7D7-250089AB04BD}"/>
                </a:ext>
              </a:extLst>
            </p:cNvPr>
            <p:cNvSpPr/>
            <p:nvPr/>
          </p:nvSpPr>
          <p:spPr>
            <a:xfrm>
              <a:off x="460778" y="4042112"/>
              <a:ext cx="587543" cy="2105526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eaVert" rtlCol="0" anchor="ctr"/>
            <a:lstStyle/>
            <a:p>
              <a:pPr algn="ctr"/>
              <a:r>
                <a:rPr kumimoji="1" lang="zh-CN" altLang="en-US" sz="1400" dirty="0"/>
                <a:t>业务顾问（弘石）</a:t>
              </a:r>
            </a:p>
          </p:txBody>
        </p:sp>
        <p:sp>
          <p:nvSpPr>
            <p:cNvPr id="25" name="矩形 24">
              <a:extLst>
                <a:ext uri="{FF2B5EF4-FFF2-40B4-BE49-F238E27FC236}">
                  <a16:creationId xmlns:a16="http://schemas.microsoft.com/office/drawing/2014/main" id="{E0339F8F-7D87-EE46-B096-F6DF25959575}"/>
                </a:ext>
              </a:extLst>
            </p:cNvPr>
            <p:cNvSpPr/>
            <p:nvPr/>
          </p:nvSpPr>
          <p:spPr>
            <a:xfrm>
              <a:off x="1413269" y="4042112"/>
              <a:ext cx="587543" cy="2105526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eaVert" rtlCol="0" anchor="ctr"/>
            <a:lstStyle/>
            <a:p>
              <a:pPr algn="ctr"/>
              <a:r>
                <a:rPr kumimoji="1" lang="zh-CN" altLang="en-US" sz="1400" dirty="0"/>
                <a:t>业务顾问（弗思特）</a:t>
              </a:r>
            </a:p>
          </p:txBody>
        </p:sp>
        <p:sp>
          <p:nvSpPr>
            <p:cNvPr id="26" name="矩形 25">
              <a:extLst>
                <a:ext uri="{FF2B5EF4-FFF2-40B4-BE49-F238E27FC236}">
                  <a16:creationId xmlns:a16="http://schemas.microsoft.com/office/drawing/2014/main" id="{7CB5B904-8A40-6347-BC58-40C0B68A1DBE}"/>
                </a:ext>
              </a:extLst>
            </p:cNvPr>
            <p:cNvSpPr/>
            <p:nvPr/>
          </p:nvSpPr>
          <p:spPr>
            <a:xfrm>
              <a:off x="2649021" y="4042112"/>
              <a:ext cx="587543" cy="2105526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eaVert" rtlCol="0" anchor="ctr"/>
            <a:lstStyle/>
            <a:p>
              <a:pPr algn="ctr"/>
              <a:r>
                <a:rPr kumimoji="1" lang="zh-CN" altLang="en-US" sz="1400" dirty="0"/>
                <a:t>技术顾问（龚伯平）</a:t>
              </a:r>
            </a:p>
          </p:txBody>
        </p:sp>
        <p:sp>
          <p:nvSpPr>
            <p:cNvPr id="27" name="矩形 26">
              <a:extLst>
                <a:ext uri="{FF2B5EF4-FFF2-40B4-BE49-F238E27FC236}">
                  <a16:creationId xmlns:a16="http://schemas.microsoft.com/office/drawing/2014/main" id="{EBD22934-B2F5-D24D-90E8-18FA47BE47B8}"/>
                </a:ext>
              </a:extLst>
            </p:cNvPr>
            <p:cNvSpPr/>
            <p:nvPr/>
          </p:nvSpPr>
          <p:spPr>
            <a:xfrm>
              <a:off x="3812555" y="4042112"/>
              <a:ext cx="587543" cy="2105526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eaVert" rtlCol="0" anchor="ctr"/>
            <a:lstStyle/>
            <a:p>
              <a:pPr algn="ctr"/>
              <a:r>
                <a:rPr kumimoji="1" lang="zh-CN" altLang="en-US" sz="1400" dirty="0"/>
                <a:t>产品顾问（贺佳）</a:t>
              </a:r>
            </a:p>
          </p:txBody>
        </p:sp>
        <p:sp>
          <p:nvSpPr>
            <p:cNvPr id="28" name="矩形 27">
              <a:extLst>
                <a:ext uri="{FF2B5EF4-FFF2-40B4-BE49-F238E27FC236}">
                  <a16:creationId xmlns:a16="http://schemas.microsoft.com/office/drawing/2014/main" id="{C7B4E776-BE75-F240-B78B-5AB9D983A3CB}"/>
                </a:ext>
              </a:extLst>
            </p:cNvPr>
            <p:cNvSpPr/>
            <p:nvPr/>
          </p:nvSpPr>
          <p:spPr>
            <a:xfrm>
              <a:off x="4560518" y="4042112"/>
              <a:ext cx="587543" cy="2105526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eaVert" rtlCol="0" anchor="ctr"/>
            <a:lstStyle/>
            <a:p>
              <a:pPr algn="ctr"/>
              <a:r>
                <a:rPr kumimoji="1" lang="zh-CN" altLang="en-US" sz="1400" dirty="0"/>
                <a:t>架构组</a:t>
              </a:r>
            </a:p>
          </p:txBody>
        </p:sp>
        <p:sp>
          <p:nvSpPr>
            <p:cNvPr id="29" name="矩形 28">
              <a:extLst>
                <a:ext uri="{FF2B5EF4-FFF2-40B4-BE49-F238E27FC236}">
                  <a16:creationId xmlns:a16="http://schemas.microsoft.com/office/drawing/2014/main" id="{67E8D3CA-C72A-EB42-BD0C-F935C1CC70DF}"/>
                </a:ext>
              </a:extLst>
            </p:cNvPr>
            <p:cNvSpPr/>
            <p:nvPr/>
          </p:nvSpPr>
          <p:spPr>
            <a:xfrm>
              <a:off x="5308479" y="4042112"/>
              <a:ext cx="587543" cy="2105526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eaVert" rtlCol="0" anchor="ctr"/>
            <a:lstStyle/>
            <a:p>
              <a:pPr algn="ctr"/>
              <a:r>
                <a:rPr kumimoji="1" lang="zh-CN" altLang="en-US" sz="1400" dirty="0"/>
                <a:t>开发组</a:t>
              </a:r>
            </a:p>
          </p:txBody>
        </p:sp>
        <p:sp>
          <p:nvSpPr>
            <p:cNvPr id="30" name="矩形 29">
              <a:extLst>
                <a:ext uri="{FF2B5EF4-FFF2-40B4-BE49-F238E27FC236}">
                  <a16:creationId xmlns:a16="http://schemas.microsoft.com/office/drawing/2014/main" id="{5862FA65-2028-3D4F-9959-6EEC069DB5C8}"/>
                </a:ext>
              </a:extLst>
            </p:cNvPr>
            <p:cNvSpPr/>
            <p:nvPr/>
          </p:nvSpPr>
          <p:spPr>
            <a:xfrm>
              <a:off x="6067474" y="4042110"/>
              <a:ext cx="587543" cy="2105526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eaVert" rtlCol="0" anchor="ctr"/>
            <a:lstStyle/>
            <a:p>
              <a:pPr algn="ctr"/>
              <a:r>
                <a:rPr kumimoji="1" lang="zh-CN" altLang="en-US" sz="1400" dirty="0"/>
                <a:t>测试组</a:t>
              </a:r>
            </a:p>
          </p:txBody>
        </p:sp>
        <p:cxnSp>
          <p:nvCxnSpPr>
            <p:cNvPr id="32" name="直线箭头连接符 31">
              <a:extLst>
                <a:ext uri="{FF2B5EF4-FFF2-40B4-BE49-F238E27FC236}">
                  <a16:creationId xmlns:a16="http://schemas.microsoft.com/office/drawing/2014/main" id="{0C2D4B45-1FE1-D340-BD96-851EE446B892}"/>
                </a:ext>
              </a:extLst>
            </p:cNvPr>
            <p:cNvCxnSpPr>
              <a:stCxn id="7" idx="2"/>
              <a:endCxn id="15" idx="0"/>
            </p:cNvCxnSpPr>
            <p:nvPr/>
          </p:nvCxnSpPr>
          <p:spPr>
            <a:xfrm>
              <a:off x="3527259" y="1612734"/>
              <a:ext cx="0" cy="391030"/>
            </a:xfrm>
            <a:prstGeom prst="straightConnector1">
              <a:avLst/>
            </a:prstGeom>
            <a:ln>
              <a:solidFill>
                <a:schemeClr val="accent5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直线箭头连接符 33">
              <a:extLst>
                <a:ext uri="{FF2B5EF4-FFF2-40B4-BE49-F238E27FC236}">
                  <a16:creationId xmlns:a16="http://schemas.microsoft.com/office/drawing/2014/main" id="{BDBF8857-202C-9C4A-A4F3-CC0771C653DD}"/>
                </a:ext>
              </a:extLst>
            </p:cNvPr>
            <p:cNvCxnSpPr>
              <a:stCxn id="15" idx="2"/>
            </p:cNvCxnSpPr>
            <p:nvPr/>
          </p:nvCxnSpPr>
          <p:spPr>
            <a:xfrm>
              <a:off x="3527259" y="2593311"/>
              <a:ext cx="0" cy="432000"/>
            </a:xfrm>
            <a:prstGeom prst="straightConnector1">
              <a:avLst/>
            </a:prstGeom>
            <a:ln>
              <a:solidFill>
                <a:schemeClr val="accent5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肘形连接符 35">
              <a:extLst>
                <a:ext uri="{FF2B5EF4-FFF2-40B4-BE49-F238E27FC236}">
                  <a16:creationId xmlns:a16="http://schemas.microsoft.com/office/drawing/2014/main" id="{AED78497-E2BC-854C-AE3C-1CB26F0C9184}"/>
                </a:ext>
              </a:extLst>
            </p:cNvPr>
            <p:cNvCxnSpPr>
              <a:cxnSpLocks/>
              <a:stCxn id="21" idx="2"/>
              <a:endCxn id="25" idx="0"/>
            </p:cNvCxnSpPr>
            <p:nvPr/>
          </p:nvCxnSpPr>
          <p:spPr>
            <a:xfrm rot="16200000" flipH="1">
              <a:off x="1403715" y="3738785"/>
              <a:ext cx="405565" cy="201087"/>
            </a:xfrm>
            <a:prstGeom prst="bentConnector3">
              <a:avLst/>
            </a:prstGeom>
            <a:ln>
              <a:solidFill>
                <a:schemeClr val="accent5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肘形连接符 37">
              <a:extLst>
                <a:ext uri="{FF2B5EF4-FFF2-40B4-BE49-F238E27FC236}">
                  <a16:creationId xmlns:a16="http://schemas.microsoft.com/office/drawing/2014/main" id="{50661F33-E70C-5948-8035-F1EAD273FD9C}"/>
                </a:ext>
              </a:extLst>
            </p:cNvPr>
            <p:cNvCxnSpPr>
              <a:cxnSpLocks/>
              <a:stCxn id="21" idx="2"/>
              <a:endCxn id="24" idx="0"/>
            </p:cNvCxnSpPr>
            <p:nvPr/>
          </p:nvCxnSpPr>
          <p:spPr>
            <a:xfrm rot="5400000">
              <a:off x="927469" y="3463627"/>
              <a:ext cx="405565" cy="751404"/>
            </a:xfrm>
            <a:prstGeom prst="bentConnector3">
              <a:avLst/>
            </a:prstGeom>
            <a:ln>
              <a:solidFill>
                <a:schemeClr val="accent5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肘形连接符 44">
              <a:extLst>
                <a:ext uri="{FF2B5EF4-FFF2-40B4-BE49-F238E27FC236}">
                  <a16:creationId xmlns:a16="http://schemas.microsoft.com/office/drawing/2014/main" id="{EC25E7AD-C69F-794B-8C00-65CC88628238}"/>
                </a:ext>
              </a:extLst>
            </p:cNvPr>
            <p:cNvCxnSpPr>
              <a:cxnSpLocks/>
              <a:stCxn id="22" idx="2"/>
              <a:endCxn id="26" idx="0"/>
            </p:cNvCxnSpPr>
            <p:nvPr/>
          </p:nvCxnSpPr>
          <p:spPr>
            <a:xfrm rot="5400000">
              <a:off x="3032244" y="3547096"/>
              <a:ext cx="405565" cy="584466"/>
            </a:xfrm>
            <a:prstGeom prst="bentConnector3">
              <a:avLst/>
            </a:prstGeom>
            <a:ln>
              <a:solidFill>
                <a:schemeClr val="accent5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肘形连接符 49">
              <a:extLst>
                <a:ext uri="{FF2B5EF4-FFF2-40B4-BE49-F238E27FC236}">
                  <a16:creationId xmlns:a16="http://schemas.microsoft.com/office/drawing/2014/main" id="{5D2A5AD9-BC47-9343-AD63-74FE2C50B708}"/>
                </a:ext>
              </a:extLst>
            </p:cNvPr>
            <p:cNvCxnSpPr>
              <a:stCxn id="23" idx="2"/>
              <a:endCxn id="27" idx="0"/>
            </p:cNvCxnSpPr>
            <p:nvPr/>
          </p:nvCxnSpPr>
          <p:spPr>
            <a:xfrm rot="5400000">
              <a:off x="4624662" y="3118209"/>
              <a:ext cx="405566" cy="1442238"/>
            </a:xfrm>
            <a:prstGeom prst="bentConnector3">
              <a:avLst/>
            </a:prstGeom>
            <a:ln>
              <a:solidFill>
                <a:schemeClr val="accent5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肘形连接符 51">
              <a:extLst>
                <a:ext uri="{FF2B5EF4-FFF2-40B4-BE49-F238E27FC236}">
                  <a16:creationId xmlns:a16="http://schemas.microsoft.com/office/drawing/2014/main" id="{CA8E950F-6474-3841-9974-1DA2384DFF86}"/>
                </a:ext>
              </a:extLst>
            </p:cNvPr>
            <p:cNvCxnSpPr>
              <a:stCxn id="23" idx="2"/>
              <a:endCxn id="28" idx="0"/>
            </p:cNvCxnSpPr>
            <p:nvPr/>
          </p:nvCxnSpPr>
          <p:spPr>
            <a:xfrm rot="5400000">
              <a:off x="4998644" y="3492191"/>
              <a:ext cx="405566" cy="694275"/>
            </a:xfrm>
            <a:prstGeom prst="bentConnector3">
              <a:avLst/>
            </a:prstGeom>
            <a:ln>
              <a:solidFill>
                <a:schemeClr val="accent5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肘形连接符 53">
              <a:extLst>
                <a:ext uri="{FF2B5EF4-FFF2-40B4-BE49-F238E27FC236}">
                  <a16:creationId xmlns:a16="http://schemas.microsoft.com/office/drawing/2014/main" id="{B8216810-F73B-B24B-934D-188FBBC59875}"/>
                </a:ext>
              </a:extLst>
            </p:cNvPr>
            <p:cNvCxnSpPr>
              <a:stCxn id="23" idx="2"/>
              <a:endCxn id="29" idx="0"/>
            </p:cNvCxnSpPr>
            <p:nvPr/>
          </p:nvCxnSpPr>
          <p:spPr>
            <a:xfrm rot="16200000" flipH="1">
              <a:off x="5372625" y="3812485"/>
              <a:ext cx="405566" cy="53686"/>
            </a:xfrm>
            <a:prstGeom prst="bentConnector3">
              <a:avLst/>
            </a:prstGeom>
            <a:ln>
              <a:solidFill>
                <a:schemeClr val="accent5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肘形连接符 55">
              <a:extLst>
                <a:ext uri="{FF2B5EF4-FFF2-40B4-BE49-F238E27FC236}">
                  <a16:creationId xmlns:a16="http://schemas.microsoft.com/office/drawing/2014/main" id="{0A038356-C97F-8347-810C-4C8995FC4A72}"/>
                </a:ext>
              </a:extLst>
            </p:cNvPr>
            <p:cNvCxnSpPr>
              <a:stCxn id="23" idx="2"/>
              <a:endCxn id="30" idx="0"/>
            </p:cNvCxnSpPr>
            <p:nvPr/>
          </p:nvCxnSpPr>
          <p:spPr>
            <a:xfrm rot="16200000" flipH="1">
              <a:off x="5752122" y="3432987"/>
              <a:ext cx="405564" cy="812680"/>
            </a:xfrm>
            <a:prstGeom prst="bentConnector3">
              <a:avLst/>
            </a:prstGeom>
            <a:ln>
              <a:solidFill>
                <a:schemeClr val="accent5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1" name="矩形 30">
            <a:extLst>
              <a:ext uri="{FF2B5EF4-FFF2-40B4-BE49-F238E27FC236}">
                <a16:creationId xmlns:a16="http://schemas.microsoft.com/office/drawing/2014/main" id="{3BEF8842-91FA-FB49-882A-8A9374F58617}"/>
              </a:ext>
            </a:extLst>
          </p:cNvPr>
          <p:cNvSpPr/>
          <p:nvPr/>
        </p:nvSpPr>
        <p:spPr>
          <a:xfrm>
            <a:off x="0" y="217895"/>
            <a:ext cx="2404154" cy="5276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zh-CN" altLang="en-US" sz="2800" b="1" dirty="0">
                <a:solidFill>
                  <a:schemeClr val="tx1"/>
                </a:solidFill>
                <a:latin typeface="方正兰亭纤黑简体" panose="02000000000000000000" pitchFamily="2" charset="-122"/>
                <a:ea typeface="方正兰亭纤黑简体" panose="02000000000000000000" pitchFamily="2" charset="-122"/>
              </a:rPr>
              <a:t>项目组织架构</a:t>
            </a:r>
          </a:p>
        </p:txBody>
      </p:sp>
    </p:spTree>
    <p:extLst>
      <p:ext uri="{BB962C8B-B14F-4D97-AF65-F5344CB8AC3E}">
        <p14:creationId xmlns:p14="http://schemas.microsoft.com/office/powerpoint/2010/main" val="300248222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表格 2">
            <a:extLst>
              <a:ext uri="{FF2B5EF4-FFF2-40B4-BE49-F238E27FC236}">
                <a16:creationId xmlns:a16="http://schemas.microsoft.com/office/drawing/2014/main" id="{0E501883-EB41-6E49-A6E3-2428E42A5C5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85048623"/>
              </p:ext>
            </p:extLst>
          </p:nvPr>
        </p:nvGraphicFramePr>
        <p:xfrm>
          <a:off x="546266" y="1021279"/>
          <a:ext cx="10806546" cy="5086930"/>
        </p:xfrm>
        <a:graphic>
          <a:graphicData uri="http://schemas.openxmlformats.org/drawingml/2006/table">
            <a:tbl>
              <a:tblPr/>
              <a:tblGrid>
                <a:gridCol w="1089737">
                  <a:extLst>
                    <a:ext uri="{9D8B030D-6E8A-4147-A177-3AD203B41FA5}">
                      <a16:colId xmlns:a16="http://schemas.microsoft.com/office/drawing/2014/main" val="2188880831"/>
                    </a:ext>
                  </a:extLst>
                </a:gridCol>
                <a:gridCol w="1089737">
                  <a:extLst>
                    <a:ext uri="{9D8B030D-6E8A-4147-A177-3AD203B41FA5}">
                      <a16:colId xmlns:a16="http://schemas.microsoft.com/office/drawing/2014/main" val="1843405141"/>
                    </a:ext>
                  </a:extLst>
                </a:gridCol>
                <a:gridCol w="1089737">
                  <a:extLst>
                    <a:ext uri="{9D8B030D-6E8A-4147-A177-3AD203B41FA5}">
                      <a16:colId xmlns:a16="http://schemas.microsoft.com/office/drawing/2014/main" val="1603744961"/>
                    </a:ext>
                  </a:extLst>
                </a:gridCol>
                <a:gridCol w="6529876">
                  <a:extLst>
                    <a:ext uri="{9D8B030D-6E8A-4147-A177-3AD203B41FA5}">
                      <a16:colId xmlns:a16="http://schemas.microsoft.com/office/drawing/2014/main" val="1533422321"/>
                    </a:ext>
                  </a:extLst>
                </a:gridCol>
                <a:gridCol w="1007459">
                  <a:extLst>
                    <a:ext uri="{9D8B030D-6E8A-4147-A177-3AD203B41FA5}">
                      <a16:colId xmlns:a16="http://schemas.microsoft.com/office/drawing/2014/main" val="884510120"/>
                    </a:ext>
                  </a:extLst>
                </a:gridCol>
              </a:tblGrid>
              <a:tr h="545620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公司名称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人员名称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角色名称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职责内容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工作年限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894933"/>
                  </a:ext>
                </a:extLst>
              </a:tr>
              <a:tr h="405241">
                <a:tc rowSpan="8">
                  <a:txBody>
                    <a:bodyPr/>
                    <a:lstStyle/>
                    <a:p>
                      <a:pPr algn="ctr" fontAlgn="t"/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上海图源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韩德福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项目经理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负责整体项目、需求调研、项目计划制定、项目管理和</a:t>
                      </a:r>
                      <a:r>
                        <a:rPr lang="e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CAD</a:t>
                      </a:r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部分核心开发工作。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1</a:t>
                      </a:r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61421495"/>
                  </a:ext>
                </a:extLst>
              </a:tr>
              <a:tr h="421611">
                <a:tc vMerge="1">
                  <a:txBody>
                    <a:bodyPr/>
                    <a:lstStyle/>
                    <a:p>
                      <a:pPr algn="ctr" fontAlgn="t"/>
                      <a:endParaRPr lang="zh-CN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袁学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开发工程师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架构师和核心开发人员，负责软件架构和</a:t>
                      </a:r>
                      <a:r>
                        <a:rPr lang="e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CAD</a:t>
                      </a:r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算法、</a:t>
                      </a:r>
                      <a:r>
                        <a:rPr lang="e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Web</a:t>
                      </a:r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端后台开发、组织项目培训。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</a:t>
                      </a:r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8474098"/>
                  </a:ext>
                </a:extLst>
              </a:tr>
              <a:tr h="551483">
                <a:tc vMerge="1">
                  <a:txBody>
                    <a:bodyPr/>
                    <a:lstStyle/>
                    <a:p>
                      <a:pPr algn="ctr" fontAlgn="t"/>
                      <a:endParaRPr lang="zh-CN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朱立耕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开发工程师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ct val="150000"/>
                        </a:lnSpc>
                      </a:pPr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负责</a:t>
                      </a:r>
                      <a:r>
                        <a:rPr lang="e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AutoCAD</a:t>
                      </a:r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参数化动态块原型设计、成本计算公式的程序化工作、</a:t>
                      </a:r>
                      <a:r>
                        <a:rPr lang="e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AutoCAD</a:t>
                      </a:r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多版本编译工作。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9</a:t>
                      </a:r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50392550"/>
                  </a:ext>
                </a:extLst>
              </a:tr>
              <a:tr h="421611">
                <a:tc vMerge="1">
                  <a:txBody>
                    <a:bodyPr/>
                    <a:lstStyle/>
                    <a:p>
                      <a:pPr algn="ctr" fontAlgn="t"/>
                      <a:endParaRPr lang="zh-CN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王国文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开发工程师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负责非动态图块部分的统一入库处理、数据库各字段的设计指导和部分开发工作。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</a:t>
                      </a:r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30499566"/>
                  </a:ext>
                </a:extLst>
              </a:tr>
              <a:tr h="421611">
                <a:tc vMerge="1">
                  <a:txBody>
                    <a:bodyPr/>
                    <a:lstStyle/>
                    <a:p>
                      <a:pPr algn="ctr" fontAlgn="t"/>
                      <a:endParaRPr lang="zh-CN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江文韬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开发工程师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负责软件界面开发、</a:t>
                      </a:r>
                      <a:r>
                        <a:rPr lang="e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WEB</a:t>
                      </a:r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开发、压力测试软件开发、项目部署和问题修复。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</a:t>
                      </a:r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91961176"/>
                  </a:ext>
                </a:extLst>
              </a:tr>
              <a:tr h="421611">
                <a:tc vMerge="1">
                  <a:txBody>
                    <a:bodyPr/>
                    <a:lstStyle/>
                    <a:p>
                      <a:pPr algn="ctr" fontAlgn="t"/>
                      <a:endParaRPr lang="zh-CN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叶明远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测试工程师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负责</a:t>
                      </a:r>
                      <a:r>
                        <a:rPr lang="e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AutoCAD</a:t>
                      </a:r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端软件的测试和部分</a:t>
                      </a:r>
                      <a:r>
                        <a:rPr lang="e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bug</a:t>
                      </a:r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修复工作。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32973487"/>
                  </a:ext>
                </a:extLst>
              </a:tr>
              <a:tr h="421611">
                <a:tc vMerge="1">
                  <a:txBody>
                    <a:bodyPr/>
                    <a:lstStyle/>
                    <a:p>
                      <a:pPr algn="ctr" fontAlgn="t"/>
                      <a:endParaRPr lang="zh-CN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朱建业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测试工程师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负责</a:t>
                      </a:r>
                      <a:r>
                        <a:rPr lang="e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WEB</a:t>
                      </a:r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服务器端的测试和部分</a:t>
                      </a:r>
                      <a:r>
                        <a:rPr lang="e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bug</a:t>
                      </a:r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修复工作。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53378245"/>
                  </a:ext>
                </a:extLst>
              </a:tr>
              <a:tr h="453506">
                <a:tc vMerge="1">
                  <a:txBody>
                    <a:bodyPr/>
                    <a:lstStyle/>
                    <a:p>
                      <a:pPr algn="ctr" fontAlgn="t"/>
                      <a:endParaRPr lang="zh-CN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贺佳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产品顾问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ct val="150000"/>
                        </a:lnSpc>
                      </a:pPr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负责项目专业技术指导和沟通、软件界面友好性指导工作，参与部分</a:t>
                      </a:r>
                      <a:r>
                        <a:rPr lang="e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AutoCAD</a:t>
                      </a:r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端软件测试工作。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1</a:t>
                      </a:r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50440447"/>
                  </a:ext>
                </a:extLst>
              </a:tr>
              <a:tr h="421611">
                <a:tc>
                  <a:txBody>
                    <a:bodyPr/>
                    <a:lstStyle/>
                    <a:p>
                      <a:pPr algn="ctr" fontAlgn="t"/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弗思特设计院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汪燕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项目顾问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负责外窗、栏杆两个标准化模块动态生成及成本算量规则梳理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1</a:t>
                      </a:r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90696200"/>
                  </a:ext>
                </a:extLst>
              </a:tr>
              <a:tr h="601414">
                <a:tc>
                  <a:txBody>
                    <a:bodyPr/>
                    <a:lstStyle/>
                    <a:p>
                      <a:pPr algn="ctr" fontAlgn="t"/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弘石设计院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李默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项目顾问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ct val="150000"/>
                        </a:lnSpc>
                      </a:pPr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负责定型厨卫、线脚、空调、防水构造、填充材质、标准立面等</a:t>
                      </a:r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</a:t>
                      </a:r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个模块标准化块规则梳理及部分模块成本算量。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8</a:t>
                      </a:r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64033551"/>
                  </a:ext>
                </a:extLst>
              </a:tr>
            </a:tbl>
          </a:graphicData>
        </a:graphic>
      </p:graphicFrame>
      <p:sp>
        <p:nvSpPr>
          <p:cNvPr id="4" name="矩形 3">
            <a:extLst>
              <a:ext uri="{FF2B5EF4-FFF2-40B4-BE49-F238E27FC236}">
                <a16:creationId xmlns:a16="http://schemas.microsoft.com/office/drawing/2014/main" id="{28D5251E-C47A-1446-9C9E-8265004D300E}"/>
              </a:ext>
            </a:extLst>
          </p:cNvPr>
          <p:cNvSpPr/>
          <p:nvPr/>
        </p:nvSpPr>
        <p:spPr>
          <a:xfrm>
            <a:off x="0" y="217895"/>
            <a:ext cx="2404154" cy="5276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zh-CN" altLang="en-US" sz="2800" b="1" dirty="0">
                <a:solidFill>
                  <a:schemeClr val="tx1"/>
                </a:solidFill>
                <a:latin typeface="方正兰亭纤黑简体" panose="02000000000000000000" pitchFamily="2" charset="-122"/>
                <a:ea typeface="方正兰亭纤黑简体" panose="02000000000000000000" pitchFamily="2" charset="-122"/>
              </a:rPr>
              <a:t>核心成员介绍</a:t>
            </a:r>
          </a:p>
        </p:txBody>
      </p:sp>
    </p:spTree>
    <p:extLst>
      <p:ext uri="{BB962C8B-B14F-4D97-AF65-F5344CB8AC3E}">
        <p14:creationId xmlns:p14="http://schemas.microsoft.com/office/powerpoint/2010/main" val="75216771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组合 11">
            <a:extLst>
              <a:ext uri="{FF2B5EF4-FFF2-40B4-BE49-F238E27FC236}">
                <a16:creationId xmlns:a16="http://schemas.microsoft.com/office/drawing/2014/main" id="{F017CFCB-7003-5848-AD79-134512B2FD35}"/>
              </a:ext>
            </a:extLst>
          </p:cNvPr>
          <p:cNvGrpSpPr/>
          <p:nvPr/>
        </p:nvGrpSpPr>
        <p:grpSpPr>
          <a:xfrm>
            <a:off x="6539808" y="1242415"/>
            <a:ext cx="3867785" cy="5212080"/>
            <a:chOff x="904" y="2636"/>
            <a:chExt cx="6091" cy="8208"/>
          </a:xfrm>
        </p:grpSpPr>
        <p:sp>
          <p:nvSpPr>
            <p:cNvPr id="13" name="圆角矩形 12">
              <a:extLst>
                <a:ext uri="{FF2B5EF4-FFF2-40B4-BE49-F238E27FC236}">
                  <a16:creationId xmlns:a16="http://schemas.microsoft.com/office/drawing/2014/main" id="{8DECCA19-189F-E848-B2D1-0273FAC3CEF6}"/>
                </a:ext>
              </a:extLst>
            </p:cNvPr>
            <p:cNvSpPr/>
            <p:nvPr/>
          </p:nvSpPr>
          <p:spPr>
            <a:xfrm>
              <a:off x="904" y="2990"/>
              <a:ext cx="5882" cy="7854"/>
            </a:xfrm>
            <a:prstGeom prst="roundRect">
              <a:avLst/>
            </a:prstGeom>
            <a:noFill/>
            <a:ln w="127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7391" tIns="33696" rIns="67391" bIns="33696" rtlCol="0" anchor="ctr"/>
            <a:lstStyle/>
            <a:p>
              <a:pPr algn="ctr"/>
              <a:endParaRPr lang="zh-CN" altLang="en-US" sz="180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5" name="Text Box 3">
              <a:extLst>
                <a:ext uri="{FF2B5EF4-FFF2-40B4-BE49-F238E27FC236}">
                  <a16:creationId xmlns:a16="http://schemas.microsoft.com/office/drawing/2014/main" id="{362EE162-6CA4-0349-BC58-A60BF77C419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281" y="2675"/>
              <a:ext cx="5714" cy="8130"/>
            </a:xfrm>
            <a:prstGeom prst="rect">
              <a:avLst/>
            </a:prstGeom>
            <a:noFill/>
            <a:ln w="9525" algn="ctr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marL="177800" indent="-177800"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endParaRPr lang="zh-CN" altLang="en-US" sz="2400" dirty="0">
                <a:solidFill>
                  <a:srgbClr val="000000"/>
                </a:solidFill>
                <a:latin typeface="+mn-ea"/>
              </a:endParaRPr>
            </a:p>
            <a:p>
              <a:pPr>
                <a:lnSpc>
                  <a:spcPts val="1420"/>
                </a:lnSpc>
                <a:spcBef>
                  <a:spcPts val="600"/>
                </a:spcBef>
                <a:spcAft>
                  <a:spcPts val="600"/>
                </a:spcAft>
              </a:pPr>
              <a:r>
                <a:rPr lang="en-US" altLang="zh-CN" sz="1400" b="1" dirty="0">
                  <a:solidFill>
                    <a:srgbClr val="000000"/>
                  </a:solidFill>
                  <a:latin typeface="+mn-ea"/>
                </a:rPr>
                <a:t>1</a:t>
              </a:r>
              <a:r>
                <a:rPr lang="zh-CN" altLang="en-US" sz="1400" b="1" dirty="0">
                  <a:solidFill>
                    <a:srgbClr val="000000"/>
                  </a:solidFill>
                  <a:latin typeface="+mn-ea"/>
                </a:rPr>
                <a:t>、项目管理</a:t>
              </a:r>
              <a:endParaRPr lang="en-US" altLang="zh-CN" sz="1400" b="1" dirty="0">
                <a:solidFill>
                  <a:srgbClr val="000000"/>
                </a:solidFill>
                <a:latin typeface="+mn-ea"/>
              </a:endParaRPr>
            </a:p>
            <a:p>
              <a:pPr marL="285750" indent="-285750">
                <a:lnSpc>
                  <a:spcPts val="1420"/>
                </a:lnSpc>
                <a:spcBef>
                  <a:spcPts val="600"/>
                </a:spcBef>
                <a:spcAft>
                  <a:spcPts val="600"/>
                </a:spcAft>
                <a:buFont typeface="Wingdings" pitchFamily="2" charset="2"/>
                <a:buChar char="Ø"/>
              </a:pPr>
              <a:r>
                <a:rPr lang="zh-CN" altLang="en-US" sz="1400" dirty="0">
                  <a:solidFill>
                    <a:srgbClr val="000000"/>
                  </a:solidFill>
                  <a:latin typeface="+mn-ea"/>
                </a:rPr>
                <a:t>提出项目总体建设目标及需求</a:t>
              </a:r>
              <a:endParaRPr lang="en-US" altLang="zh-CN" sz="1400" dirty="0">
                <a:solidFill>
                  <a:srgbClr val="000000"/>
                </a:solidFill>
                <a:latin typeface="+mn-ea"/>
              </a:endParaRPr>
            </a:p>
            <a:p>
              <a:pPr marL="285750" indent="-285750">
                <a:lnSpc>
                  <a:spcPts val="1420"/>
                </a:lnSpc>
                <a:spcBef>
                  <a:spcPts val="600"/>
                </a:spcBef>
                <a:spcAft>
                  <a:spcPts val="600"/>
                </a:spcAft>
                <a:buFont typeface="Wingdings" pitchFamily="2" charset="2"/>
                <a:buChar char="Ø"/>
              </a:pPr>
              <a:r>
                <a:rPr lang="zh-CN" altLang="en-US" sz="1400" dirty="0">
                  <a:solidFill>
                    <a:srgbClr val="000000"/>
                  </a:solidFill>
                  <a:latin typeface="+mn-ea"/>
                  <a:cs typeface="微软雅黑" panose="020B0503020204020204" pitchFamily="34" charset="-122"/>
                </a:rPr>
                <a:t>总体把握项目的方向、范围、成本、质量和进度</a:t>
              </a:r>
              <a:endParaRPr lang="en-US" altLang="zh-CN" sz="1400" dirty="0">
                <a:solidFill>
                  <a:srgbClr val="000000"/>
                </a:solidFill>
                <a:latin typeface="+mn-ea"/>
                <a:cs typeface="微软雅黑" panose="020B0503020204020204" pitchFamily="34" charset="-122"/>
              </a:endParaRPr>
            </a:p>
            <a:p>
              <a:pPr marL="285750" indent="-285750">
                <a:lnSpc>
                  <a:spcPts val="1420"/>
                </a:lnSpc>
                <a:spcBef>
                  <a:spcPts val="600"/>
                </a:spcBef>
                <a:spcAft>
                  <a:spcPts val="600"/>
                </a:spcAft>
                <a:buFont typeface="Wingdings" pitchFamily="2" charset="2"/>
                <a:buChar char="Ø"/>
              </a:pPr>
              <a:r>
                <a:rPr lang="zh-CN" altLang="en-US" sz="1400" dirty="0">
                  <a:solidFill>
                    <a:srgbClr val="000000"/>
                  </a:solidFill>
                  <a:latin typeface="+mn-ea"/>
                  <a:cs typeface="微软雅黑" panose="020B0503020204020204" pitchFamily="34" charset="-122"/>
                </a:rPr>
                <a:t>保障协调各方资源</a:t>
              </a:r>
              <a:endParaRPr lang="en-US" altLang="zh-CN" sz="1400" dirty="0">
                <a:solidFill>
                  <a:srgbClr val="000000"/>
                </a:solidFill>
                <a:latin typeface="+mn-ea"/>
                <a:cs typeface="微软雅黑" panose="020B0503020204020204" pitchFamily="34" charset="-122"/>
              </a:endParaRPr>
            </a:p>
            <a:p>
              <a:pPr marL="285750" indent="-285750">
                <a:lnSpc>
                  <a:spcPts val="1420"/>
                </a:lnSpc>
                <a:spcBef>
                  <a:spcPts val="600"/>
                </a:spcBef>
                <a:spcAft>
                  <a:spcPts val="600"/>
                </a:spcAft>
                <a:buFont typeface="Wingdings" pitchFamily="2" charset="2"/>
                <a:buChar char="Ø"/>
              </a:pPr>
              <a:r>
                <a:rPr lang="zh-CN" altLang="en-US" sz="1400" dirty="0">
                  <a:solidFill>
                    <a:srgbClr val="000000"/>
                  </a:solidFill>
                  <a:latin typeface="+mn-ea"/>
                  <a:cs typeface="微软雅黑" panose="020B0503020204020204" pitchFamily="34" charset="-122"/>
                </a:rPr>
                <a:t>向领导层汇报项目执行情况</a:t>
              </a:r>
              <a:endParaRPr lang="en-US" altLang="zh-CN" sz="1400" dirty="0">
                <a:solidFill>
                  <a:srgbClr val="000000"/>
                </a:solidFill>
                <a:latin typeface="+mn-ea"/>
                <a:cs typeface="微软雅黑" panose="020B0503020204020204" pitchFamily="34" charset="-122"/>
              </a:endParaRPr>
            </a:p>
            <a:p>
              <a:pPr>
                <a:lnSpc>
                  <a:spcPts val="1420"/>
                </a:lnSpc>
                <a:spcBef>
                  <a:spcPts val="600"/>
                </a:spcBef>
                <a:spcAft>
                  <a:spcPts val="600"/>
                </a:spcAft>
              </a:pPr>
              <a:r>
                <a:rPr lang="en-US" altLang="zh-CN" sz="1400" b="1" dirty="0">
                  <a:solidFill>
                    <a:srgbClr val="000000"/>
                  </a:solidFill>
                  <a:latin typeface="+mn-ea"/>
                  <a:cs typeface="微软雅黑" panose="020B0503020204020204" pitchFamily="34" charset="-122"/>
                </a:rPr>
                <a:t>2</a:t>
              </a:r>
              <a:r>
                <a:rPr lang="zh-CN" altLang="en-US" sz="1400" b="1" dirty="0">
                  <a:solidFill>
                    <a:srgbClr val="000000"/>
                  </a:solidFill>
                  <a:latin typeface="+mn-ea"/>
                  <a:cs typeface="微软雅黑" panose="020B0503020204020204" pitchFamily="34" charset="-122"/>
                </a:rPr>
                <a:t>、方案及技术评审</a:t>
              </a:r>
              <a:endParaRPr lang="en-US" altLang="zh-CN" sz="1400" b="1" dirty="0">
                <a:solidFill>
                  <a:srgbClr val="000000"/>
                </a:solidFill>
                <a:latin typeface="+mn-ea"/>
                <a:cs typeface="微软雅黑" panose="020B0503020204020204" pitchFamily="34" charset="-122"/>
              </a:endParaRPr>
            </a:p>
            <a:p>
              <a:pPr marL="285750" indent="-285750">
                <a:lnSpc>
                  <a:spcPts val="1420"/>
                </a:lnSpc>
                <a:spcBef>
                  <a:spcPts val="600"/>
                </a:spcBef>
                <a:spcAft>
                  <a:spcPts val="600"/>
                </a:spcAft>
                <a:buFont typeface="Wingdings" pitchFamily="2" charset="2"/>
                <a:buChar char="Ø"/>
              </a:pPr>
              <a:r>
                <a:rPr lang="zh-CN" altLang="en-US" sz="1400" dirty="0">
                  <a:solidFill>
                    <a:srgbClr val="000000"/>
                  </a:solidFill>
                  <a:latin typeface="+mn-ea"/>
                  <a:cs typeface="微软雅黑" panose="020B0503020204020204" pitchFamily="34" charset="-122"/>
                </a:rPr>
                <a:t>评审并确认系统解决方案、设计方案（包括功能、非功能、界面等）</a:t>
              </a:r>
              <a:endParaRPr lang="en-US" altLang="zh-CN" sz="1400" dirty="0">
                <a:solidFill>
                  <a:srgbClr val="000000"/>
                </a:solidFill>
                <a:latin typeface="+mn-ea"/>
                <a:cs typeface="微软雅黑" panose="020B0503020204020204" pitchFamily="34" charset="-122"/>
              </a:endParaRPr>
            </a:p>
            <a:p>
              <a:pPr>
                <a:lnSpc>
                  <a:spcPts val="1420"/>
                </a:lnSpc>
                <a:spcBef>
                  <a:spcPts val="600"/>
                </a:spcBef>
                <a:spcAft>
                  <a:spcPts val="600"/>
                </a:spcAft>
              </a:pPr>
              <a:r>
                <a:rPr lang="en-US" altLang="zh-CN" sz="1400" b="1" dirty="0">
                  <a:solidFill>
                    <a:srgbClr val="000000"/>
                  </a:solidFill>
                  <a:latin typeface="+mn-ea"/>
                  <a:cs typeface="微软雅黑" panose="020B0503020204020204" pitchFamily="34" charset="-122"/>
                </a:rPr>
                <a:t>3</a:t>
              </a:r>
              <a:r>
                <a:rPr lang="zh-CN" altLang="en-US" sz="1400" b="1" dirty="0">
                  <a:solidFill>
                    <a:srgbClr val="000000"/>
                  </a:solidFill>
                  <a:latin typeface="+mn-ea"/>
                  <a:cs typeface="微软雅黑" panose="020B0503020204020204" pitchFamily="34" charset="-122"/>
                </a:rPr>
                <a:t>、测试及上线</a:t>
              </a:r>
              <a:endParaRPr lang="en-US" altLang="zh-CN" sz="1400" b="1" dirty="0">
                <a:solidFill>
                  <a:srgbClr val="000000"/>
                </a:solidFill>
                <a:latin typeface="+mn-ea"/>
                <a:cs typeface="微软雅黑" panose="020B0503020204020204" pitchFamily="34" charset="-122"/>
              </a:endParaRPr>
            </a:p>
            <a:p>
              <a:pPr marL="285750" indent="-285750">
                <a:lnSpc>
                  <a:spcPts val="1420"/>
                </a:lnSpc>
                <a:spcBef>
                  <a:spcPts val="600"/>
                </a:spcBef>
                <a:spcAft>
                  <a:spcPts val="600"/>
                </a:spcAft>
                <a:buFont typeface="Wingdings" pitchFamily="2" charset="2"/>
                <a:buChar char="Ø"/>
              </a:pPr>
              <a:r>
                <a:rPr lang="zh-CN" altLang="en-US" sz="1400" dirty="0">
                  <a:solidFill>
                    <a:srgbClr val="000000"/>
                  </a:solidFill>
                  <a:latin typeface="+mn-ea"/>
                  <a:cs typeface="微软雅黑" panose="020B0503020204020204" pitchFamily="34" charset="-122"/>
                </a:rPr>
                <a:t>参与并组织关键用户进行系统测试</a:t>
              </a:r>
              <a:endParaRPr lang="en-US" altLang="zh-CN" sz="1400" dirty="0">
                <a:solidFill>
                  <a:srgbClr val="000000"/>
                </a:solidFill>
                <a:latin typeface="+mn-ea"/>
                <a:cs typeface="微软雅黑" panose="020B0503020204020204" pitchFamily="34" charset="-122"/>
              </a:endParaRPr>
            </a:p>
            <a:p>
              <a:pPr marL="285750" indent="-285750">
                <a:lnSpc>
                  <a:spcPts val="1420"/>
                </a:lnSpc>
                <a:spcBef>
                  <a:spcPts val="600"/>
                </a:spcBef>
                <a:spcAft>
                  <a:spcPts val="600"/>
                </a:spcAft>
                <a:buFont typeface="Wingdings" pitchFamily="2" charset="2"/>
                <a:buChar char="Ø"/>
              </a:pPr>
              <a:r>
                <a:rPr lang="zh-CN" altLang="en-US" sz="1400" dirty="0">
                  <a:solidFill>
                    <a:srgbClr val="000000"/>
                  </a:solidFill>
                  <a:latin typeface="+mn-ea"/>
                  <a:cs typeface="微软雅黑" panose="020B0503020204020204" pitchFamily="34" charset="-122"/>
                </a:rPr>
                <a:t>确定系统权限</a:t>
              </a:r>
              <a:endParaRPr lang="en-US" altLang="zh-CN" sz="1400" dirty="0">
                <a:solidFill>
                  <a:srgbClr val="000000"/>
                </a:solidFill>
                <a:latin typeface="+mn-ea"/>
                <a:cs typeface="微软雅黑" panose="020B0503020204020204" pitchFamily="34" charset="-122"/>
              </a:endParaRPr>
            </a:p>
            <a:p>
              <a:pPr marL="285750" indent="-285750">
                <a:lnSpc>
                  <a:spcPts val="1420"/>
                </a:lnSpc>
                <a:spcBef>
                  <a:spcPts val="600"/>
                </a:spcBef>
                <a:spcAft>
                  <a:spcPts val="600"/>
                </a:spcAft>
                <a:buFont typeface="Wingdings" pitchFamily="2" charset="2"/>
                <a:buChar char="Ø"/>
              </a:pPr>
              <a:r>
                <a:rPr lang="zh-CN" altLang="en-US" sz="1400" dirty="0">
                  <a:solidFill>
                    <a:srgbClr val="000000"/>
                  </a:solidFill>
                  <a:latin typeface="+mn-ea"/>
                  <a:cs typeface="微软雅黑" panose="020B0503020204020204" pitchFamily="34" charset="-122"/>
                </a:rPr>
                <a:t>组织系统上线推广培训</a:t>
              </a:r>
              <a:endParaRPr lang="en-US" altLang="zh-CN" sz="1400" dirty="0">
                <a:solidFill>
                  <a:srgbClr val="000000"/>
                </a:solidFill>
                <a:latin typeface="+mn-ea"/>
                <a:cs typeface="微软雅黑" panose="020B0503020204020204" pitchFamily="34" charset="-122"/>
              </a:endParaRPr>
            </a:p>
            <a:p>
              <a:pPr>
                <a:lnSpc>
                  <a:spcPts val="1420"/>
                </a:lnSpc>
                <a:spcBef>
                  <a:spcPts val="600"/>
                </a:spcBef>
                <a:spcAft>
                  <a:spcPts val="600"/>
                </a:spcAft>
              </a:pPr>
              <a:r>
                <a:rPr lang="en-US" altLang="zh-CN" sz="1400" b="1" dirty="0">
                  <a:solidFill>
                    <a:srgbClr val="000000"/>
                  </a:solidFill>
                  <a:latin typeface="+mn-ea"/>
                  <a:cs typeface="微软雅黑" panose="020B0503020204020204" pitchFamily="34" charset="-122"/>
                </a:rPr>
                <a:t>4</a:t>
              </a:r>
              <a:r>
                <a:rPr lang="zh-CN" altLang="en-US" sz="1400" b="1" dirty="0">
                  <a:solidFill>
                    <a:srgbClr val="000000"/>
                  </a:solidFill>
                  <a:latin typeface="+mn-ea"/>
                  <a:cs typeface="微软雅黑" panose="020B0503020204020204" pitchFamily="34" charset="-122"/>
                </a:rPr>
                <a:t>、项目验收</a:t>
              </a:r>
            </a:p>
            <a:p>
              <a:pPr>
                <a:lnSpc>
                  <a:spcPts val="1420"/>
                </a:lnSpc>
                <a:spcBef>
                  <a:spcPts val="600"/>
                </a:spcBef>
                <a:spcAft>
                  <a:spcPts val="600"/>
                </a:spcAft>
              </a:pPr>
              <a:endParaRPr lang="zh-CN" altLang="en-US" sz="2400" dirty="0">
                <a:solidFill>
                  <a:srgbClr val="000000"/>
                </a:solidFill>
                <a:latin typeface="+mn-ea"/>
                <a:cs typeface="微软雅黑" panose="020B0503020204020204" pitchFamily="34" charset="-122"/>
              </a:endParaRPr>
            </a:p>
          </p:txBody>
        </p:sp>
        <p:sp>
          <p:nvSpPr>
            <p:cNvPr id="16" name="矩形 15">
              <a:extLst>
                <a:ext uri="{FF2B5EF4-FFF2-40B4-BE49-F238E27FC236}">
                  <a16:creationId xmlns:a16="http://schemas.microsoft.com/office/drawing/2014/main" id="{60E2FB9D-FC2E-414A-9179-E14536615FBA}"/>
                </a:ext>
              </a:extLst>
            </p:cNvPr>
            <p:cNvSpPr/>
            <p:nvPr/>
          </p:nvSpPr>
          <p:spPr>
            <a:xfrm>
              <a:off x="1567" y="2636"/>
              <a:ext cx="4556" cy="661"/>
            </a:xfrm>
            <a:prstGeom prst="rect">
              <a:avLst/>
            </a:prstGeom>
            <a:solidFill>
              <a:srgbClr val="005DA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b="1" dirty="0">
                  <a:solidFill>
                    <a:schemeClr val="bg1"/>
                  </a:solidFill>
                  <a:latin typeface="+mn-ea"/>
                  <a:sym typeface="+mn-ea"/>
                </a:rPr>
                <a:t>甲方工作职责</a:t>
              </a:r>
            </a:p>
          </p:txBody>
        </p:sp>
      </p:grpSp>
      <p:grpSp>
        <p:nvGrpSpPr>
          <p:cNvPr id="17" name="组合 16">
            <a:extLst>
              <a:ext uri="{FF2B5EF4-FFF2-40B4-BE49-F238E27FC236}">
                <a16:creationId xmlns:a16="http://schemas.microsoft.com/office/drawing/2014/main" id="{BFC74B42-C6A0-0A44-9C23-1026C8D2BDFD}"/>
              </a:ext>
            </a:extLst>
          </p:cNvPr>
          <p:cNvGrpSpPr/>
          <p:nvPr/>
        </p:nvGrpSpPr>
        <p:grpSpPr>
          <a:xfrm>
            <a:off x="1545013" y="1158595"/>
            <a:ext cx="3807460" cy="5514340"/>
            <a:chOff x="904" y="2504"/>
            <a:chExt cx="5996" cy="8684"/>
          </a:xfrm>
        </p:grpSpPr>
        <p:sp>
          <p:nvSpPr>
            <p:cNvPr id="18" name="圆角矩形 17">
              <a:extLst>
                <a:ext uri="{FF2B5EF4-FFF2-40B4-BE49-F238E27FC236}">
                  <a16:creationId xmlns:a16="http://schemas.microsoft.com/office/drawing/2014/main" id="{76BDFE21-7D0C-5F46-957D-3EA14AB1E8C5}"/>
                </a:ext>
              </a:extLst>
            </p:cNvPr>
            <p:cNvSpPr/>
            <p:nvPr/>
          </p:nvSpPr>
          <p:spPr>
            <a:xfrm>
              <a:off x="904" y="2990"/>
              <a:ext cx="5882" cy="7919"/>
            </a:xfrm>
            <a:prstGeom prst="roundRect">
              <a:avLst/>
            </a:prstGeom>
            <a:noFill/>
            <a:ln w="127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7391" tIns="33696" rIns="67391" bIns="33696" rtlCol="0" anchor="ctr"/>
            <a:lstStyle/>
            <a:p>
              <a:pPr algn="ctr"/>
              <a:endParaRPr lang="zh-CN" altLang="en-US" sz="180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9" name="Text Box 3">
              <a:extLst>
                <a:ext uri="{FF2B5EF4-FFF2-40B4-BE49-F238E27FC236}">
                  <a16:creationId xmlns:a16="http://schemas.microsoft.com/office/drawing/2014/main" id="{E94ABDD0-967F-C443-99CF-B9670DD4E46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186" y="2504"/>
              <a:ext cx="5714" cy="8684"/>
            </a:xfrm>
            <a:prstGeom prst="rect">
              <a:avLst/>
            </a:prstGeom>
            <a:noFill/>
            <a:ln w="9525" algn="ctr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marL="177800" indent="-177800"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endParaRPr lang="zh-CN" altLang="en-US" sz="2400" dirty="0">
                <a:solidFill>
                  <a:srgbClr val="000000"/>
                </a:solidFill>
                <a:latin typeface="+mn-ea"/>
              </a:endParaRPr>
            </a:p>
            <a:p>
              <a:pPr>
                <a:lnSpc>
                  <a:spcPts val="1420"/>
                </a:lnSpc>
                <a:spcBef>
                  <a:spcPts val="600"/>
                </a:spcBef>
                <a:spcAft>
                  <a:spcPts val="600"/>
                </a:spcAft>
              </a:pPr>
              <a:r>
                <a:rPr lang="en-US" altLang="zh-CN" sz="1400" b="1" dirty="0">
                  <a:solidFill>
                    <a:srgbClr val="000000"/>
                  </a:solidFill>
                  <a:latin typeface="+mn-ea"/>
                </a:rPr>
                <a:t>1</a:t>
              </a:r>
              <a:r>
                <a:rPr lang="zh-CN" altLang="en-US" sz="1400" b="1" dirty="0">
                  <a:solidFill>
                    <a:srgbClr val="000000"/>
                  </a:solidFill>
                  <a:latin typeface="+mn-ea"/>
                </a:rPr>
                <a:t>、项目管理</a:t>
              </a:r>
              <a:endParaRPr lang="en-US" altLang="zh-CN" sz="1400" b="1" dirty="0">
                <a:solidFill>
                  <a:srgbClr val="000000"/>
                </a:solidFill>
                <a:latin typeface="+mn-ea"/>
              </a:endParaRPr>
            </a:p>
            <a:p>
              <a:pPr marL="285750" indent="-285750">
                <a:lnSpc>
                  <a:spcPts val="1420"/>
                </a:lnSpc>
                <a:spcBef>
                  <a:spcPts val="600"/>
                </a:spcBef>
                <a:spcAft>
                  <a:spcPts val="600"/>
                </a:spcAft>
                <a:buFont typeface="Wingdings" pitchFamily="2" charset="2"/>
                <a:buChar char="Ø"/>
              </a:pPr>
              <a:r>
                <a:rPr lang="en-US" altLang="zh-CN" sz="1400" dirty="0">
                  <a:solidFill>
                    <a:srgbClr val="000000"/>
                  </a:solidFill>
                  <a:latin typeface="+mn-ea"/>
                </a:rPr>
                <a:t> </a:t>
              </a:r>
              <a:r>
                <a:rPr lang="zh-CN" altLang="en-US" sz="1400" dirty="0">
                  <a:solidFill>
                    <a:srgbClr val="000000"/>
                  </a:solidFill>
                  <a:latin typeface="+mn-ea"/>
                </a:rPr>
                <a:t>组织管理项目团队</a:t>
              </a:r>
              <a:endParaRPr lang="en-US" altLang="zh-CN" sz="1400" dirty="0">
                <a:solidFill>
                  <a:srgbClr val="000000"/>
                </a:solidFill>
                <a:latin typeface="+mn-ea"/>
              </a:endParaRPr>
            </a:p>
            <a:p>
              <a:pPr marL="285750" indent="-285750">
                <a:lnSpc>
                  <a:spcPts val="1420"/>
                </a:lnSpc>
                <a:spcBef>
                  <a:spcPts val="600"/>
                </a:spcBef>
                <a:spcAft>
                  <a:spcPts val="600"/>
                </a:spcAft>
                <a:buFont typeface="Wingdings" pitchFamily="2" charset="2"/>
                <a:buChar char="Ø"/>
              </a:pPr>
              <a:r>
                <a:rPr lang="en-US" altLang="zh-CN" sz="1400" dirty="0">
                  <a:solidFill>
                    <a:srgbClr val="000000"/>
                  </a:solidFill>
                  <a:latin typeface="+mn-ea"/>
                </a:rPr>
                <a:t> </a:t>
              </a:r>
              <a:r>
                <a:rPr lang="zh-CN" altLang="en-US" sz="1400" dirty="0">
                  <a:solidFill>
                    <a:srgbClr val="000000"/>
                  </a:solidFill>
                  <a:latin typeface="+mn-ea"/>
                </a:rPr>
                <a:t>制定详细项目执行计划并保证项目进度</a:t>
              </a:r>
              <a:endParaRPr lang="en-US" altLang="zh-CN" sz="1400" dirty="0">
                <a:solidFill>
                  <a:srgbClr val="000000"/>
                </a:solidFill>
                <a:latin typeface="+mn-ea"/>
              </a:endParaRPr>
            </a:p>
            <a:p>
              <a:pPr>
                <a:lnSpc>
                  <a:spcPts val="1420"/>
                </a:lnSpc>
                <a:spcBef>
                  <a:spcPts val="600"/>
                </a:spcBef>
                <a:spcAft>
                  <a:spcPts val="600"/>
                </a:spcAft>
              </a:pPr>
              <a:r>
                <a:rPr lang="en-US" altLang="zh-CN" sz="1400" b="1" dirty="0">
                  <a:solidFill>
                    <a:srgbClr val="000000"/>
                  </a:solidFill>
                  <a:latin typeface="+mn-ea"/>
                </a:rPr>
                <a:t>2</a:t>
              </a:r>
              <a:r>
                <a:rPr lang="zh-CN" altLang="en-US" sz="1400" b="1" dirty="0">
                  <a:solidFill>
                    <a:srgbClr val="000000"/>
                  </a:solidFill>
                  <a:latin typeface="+mn-ea"/>
                </a:rPr>
                <a:t>、需求调研</a:t>
              </a:r>
              <a:endParaRPr lang="en-US" altLang="zh-CN" sz="1400" b="1" dirty="0">
                <a:solidFill>
                  <a:srgbClr val="000000"/>
                </a:solidFill>
                <a:latin typeface="+mn-ea"/>
              </a:endParaRPr>
            </a:p>
            <a:p>
              <a:pPr marL="285750" indent="-285750">
                <a:lnSpc>
                  <a:spcPts val="1420"/>
                </a:lnSpc>
                <a:spcBef>
                  <a:spcPts val="600"/>
                </a:spcBef>
                <a:spcAft>
                  <a:spcPts val="600"/>
                </a:spcAft>
                <a:buFont typeface="Wingdings" panose="05000000000000000000" pitchFamily="2" charset="2"/>
                <a:buChar char="Ø"/>
              </a:pPr>
              <a:r>
                <a:rPr lang="zh-CN" altLang="en-US" sz="1400" dirty="0">
                  <a:solidFill>
                    <a:srgbClr val="000000"/>
                  </a:solidFill>
                  <a:latin typeface="+mn-ea"/>
                </a:rPr>
                <a:t>开展需求调研、完成需求分析、需求报告编写</a:t>
              </a:r>
              <a:endParaRPr lang="en-US" altLang="zh-CN" sz="1400" dirty="0">
                <a:solidFill>
                  <a:srgbClr val="000000"/>
                </a:solidFill>
                <a:latin typeface="+mn-ea"/>
              </a:endParaRPr>
            </a:p>
            <a:p>
              <a:pPr marL="285750" indent="-285750">
                <a:lnSpc>
                  <a:spcPts val="1420"/>
                </a:lnSpc>
                <a:spcBef>
                  <a:spcPts val="600"/>
                </a:spcBef>
                <a:spcAft>
                  <a:spcPts val="600"/>
                </a:spcAft>
                <a:buFont typeface="Wingdings" panose="05000000000000000000" pitchFamily="2" charset="2"/>
                <a:buChar char="Ø"/>
              </a:pPr>
              <a:r>
                <a:rPr lang="zh-CN" altLang="en-US" sz="1400" dirty="0">
                  <a:solidFill>
                    <a:srgbClr val="000000"/>
                  </a:solidFill>
                  <a:latin typeface="+mn-ea"/>
                </a:rPr>
                <a:t>开展系统原型设计和</a:t>
              </a:r>
              <a:r>
                <a:rPr lang="en-US" altLang="zh-CN" sz="1400" dirty="0">
                  <a:solidFill>
                    <a:srgbClr val="000000"/>
                  </a:solidFill>
                  <a:latin typeface="+mn-ea"/>
                </a:rPr>
                <a:t>UI</a:t>
              </a:r>
              <a:r>
                <a:rPr lang="zh-CN" altLang="en-US" sz="1400" dirty="0">
                  <a:solidFill>
                    <a:srgbClr val="000000"/>
                  </a:solidFill>
                  <a:latin typeface="+mn-ea"/>
                </a:rPr>
                <a:t>设计</a:t>
              </a:r>
              <a:endParaRPr lang="en-US" altLang="zh-CN" sz="1400" dirty="0">
                <a:solidFill>
                  <a:srgbClr val="000000"/>
                </a:solidFill>
                <a:latin typeface="+mn-ea"/>
              </a:endParaRPr>
            </a:p>
            <a:p>
              <a:pPr>
                <a:lnSpc>
                  <a:spcPts val="1420"/>
                </a:lnSpc>
                <a:spcBef>
                  <a:spcPts val="600"/>
                </a:spcBef>
                <a:spcAft>
                  <a:spcPts val="600"/>
                </a:spcAft>
              </a:pPr>
              <a:r>
                <a:rPr lang="en-US" altLang="zh-CN" sz="1400" b="1" dirty="0">
                  <a:solidFill>
                    <a:srgbClr val="000000"/>
                  </a:solidFill>
                  <a:latin typeface="+mn-ea"/>
                  <a:cs typeface="微软雅黑" panose="020B0503020204020204" pitchFamily="34" charset="-122"/>
                </a:rPr>
                <a:t>3</a:t>
              </a:r>
              <a:r>
                <a:rPr lang="zh-CN" altLang="en-US" sz="1400" b="1" dirty="0">
                  <a:solidFill>
                    <a:srgbClr val="000000"/>
                  </a:solidFill>
                  <a:latin typeface="+mn-ea"/>
                  <a:cs typeface="微软雅黑" panose="020B0503020204020204" pitchFamily="34" charset="-122"/>
                </a:rPr>
                <a:t>、系统蓝图框架设计</a:t>
              </a:r>
              <a:endParaRPr lang="en-US" altLang="zh-CN" sz="1400" b="1" dirty="0">
                <a:solidFill>
                  <a:srgbClr val="000000"/>
                </a:solidFill>
                <a:latin typeface="+mn-ea"/>
                <a:cs typeface="微软雅黑" panose="020B0503020204020204" pitchFamily="34" charset="-122"/>
              </a:endParaRPr>
            </a:p>
            <a:p>
              <a:pPr marL="285750" indent="-285750">
                <a:lnSpc>
                  <a:spcPts val="1420"/>
                </a:lnSpc>
                <a:spcBef>
                  <a:spcPts val="600"/>
                </a:spcBef>
                <a:spcAft>
                  <a:spcPts val="600"/>
                </a:spcAft>
                <a:buFont typeface="Wingdings" panose="05000000000000000000" pitchFamily="2" charset="2"/>
                <a:buChar char="Ø"/>
              </a:pPr>
              <a:r>
                <a:rPr lang="zh-CN" altLang="en-US" sz="1400" dirty="0">
                  <a:solidFill>
                    <a:srgbClr val="000000"/>
                  </a:solidFill>
                  <a:latin typeface="+mn-ea"/>
                  <a:cs typeface="微软雅黑" panose="020B0503020204020204" pitchFamily="34" charset="-122"/>
                </a:rPr>
                <a:t>系统蓝图方案、架构设计、数据库设计，并组织评审</a:t>
              </a:r>
              <a:endParaRPr lang="en-US" altLang="zh-CN" sz="1400" dirty="0">
                <a:solidFill>
                  <a:srgbClr val="000000"/>
                </a:solidFill>
                <a:latin typeface="+mn-ea"/>
                <a:cs typeface="微软雅黑" panose="020B0503020204020204" pitchFamily="34" charset="-122"/>
              </a:endParaRPr>
            </a:p>
            <a:p>
              <a:pPr>
                <a:lnSpc>
                  <a:spcPts val="1420"/>
                </a:lnSpc>
                <a:spcBef>
                  <a:spcPts val="600"/>
                </a:spcBef>
                <a:spcAft>
                  <a:spcPts val="600"/>
                </a:spcAft>
              </a:pPr>
              <a:r>
                <a:rPr lang="en-US" altLang="zh-CN" sz="1400" b="1" dirty="0">
                  <a:solidFill>
                    <a:srgbClr val="000000"/>
                  </a:solidFill>
                  <a:latin typeface="+mn-ea"/>
                  <a:cs typeface="微软雅黑" panose="020B0503020204020204" pitchFamily="34" charset="-122"/>
                </a:rPr>
                <a:t>4</a:t>
              </a:r>
              <a:r>
                <a:rPr lang="zh-CN" altLang="en-US" sz="1400" b="1" dirty="0">
                  <a:solidFill>
                    <a:srgbClr val="000000"/>
                  </a:solidFill>
                  <a:latin typeface="+mn-ea"/>
                  <a:cs typeface="微软雅黑" panose="020B0503020204020204" pitchFamily="34" charset="-122"/>
                </a:rPr>
                <a:t>、系统开发、测试</a:t>
              </a:r>
              <a:endParaRPr lang="en-US" altLang="zh-CN" sz="1400" b="1" dirty="0">
                <a:solidFill>
                  <a:srgbClr val="000000"/>
                </a:solidFill>
                <a:latin typeface="+mn-ea"/>
                <a:cs typeface="微软雅黑" panose="020B0503020204020204" pitchFamily="34" charset="-122"/>
              </a:endParaRPr>
            </a:p>
            <a:p>
              <a:pPr marL="285750" indent="-285750">
                <a:lnSpc>
                  <a:spcPts val="1420"/>
                </a:lnSpc>
                <a:spcBef>
                  <a:spcPts val="600"/>
                </a:spcBef>
                <a:spcAft>
                  <a:spcPts val="600"/>
                </a:spcAft>
                <a:buFont typeface="Wingdings" panose="05000000000000000000" pitchFamily="2" charset="2"/>
                <a:buChar char="Ø"/>
              </a:pPr>
              <a:r>
                <a:rPr lang="en-US" altLang="zh-CN" sz="1400" dirty="0">
                  <a:solidFill>
                    <a:srgbClr val="000000"/>
                  </a:solidFill>
                  <a:latin typeface="+mn-ea"/>
                  <a:cs typeface="微软雅黑" panose="020B0503020204020204" pitchFamily="34" charset="-122"/>
                </a:rPr>
                <a:t>CAD</a:t>
              </a:r>
              <a:r>
                <a:rPr lang="zh-CN" altLang="en-US" sz="1400" dirty="0">
                  <a:solidFill>
                    <a:srgbClr val="000000"/>
                  </a:solidFill>
                  <a:latin typeface="+mn-ea"/>
                  <a:cs typeface="微软雅黑" panose="020B0503020204020204" pitchFamily="34" charset="-122"/>
                </a:rPr>
                <a:t>端模块开发、</a:t>
              </a:r>
              <a:r>
                <a:rPr lang="en-US" altLang="zh-CN" sz="1400" dirty="0">
                  <a:solidFill>
                    <a:srgbClr val="000000"/>
                  </a:solidFill>
                  <a:latin typeface="+mn-ea"/>
                  <a:cs typeface="微软雅黑" panose="020B0503020204020204" pitchFamily="34" charset="-122"/>
                </a:rPr>
                <a:t>web</a:t>
              </a:r>
              <a:r>
                <a:rPr lang="zh-CN" altLang="en-US" sz="1400" dirty="0">
                  <a:solidFill>
                    <a:srgbClr val="000000"/>
                  </a:solidFill>
                  <a:latin typeface="+mn-ea"/>
                  <a:cs typeface="微软雅黑" panose="020B0503020204020204" pitchFamily="34" charset="-122"/>
                </a:rPr>
                <a:t>端开发、系统单元测试、集成测试、用户测试</a:t>
              </a:r>
              <a:endParaRPr lang="en-US" altLang="zh-CN" sz="1400" dirty="0">
                <a:solidFill>
                  <a:srgbClr val="000000"/>
                </a:solidFill>
                <a:latin typeface="+mn-ea"/>
                <a:cs typeface="微软雅黑" panose="020B0503020204020204" pitchFamily="34" charset="-122"/>
              </a:endParaRPr>
            </a:p>
            <a:p>
              <a:pPr>
                <a:lnSpc>
                  <a:spcPts val="1420"/>
                </a:lnSpc>
                <a:spcBef>
                  <a:spcPts val="600"/>
                </a:spcBef>
                <a:spcAft>
                  <a:spcPts val="600"/>
                </a:spcAft>
              </a:pPr>
              <a:r>
                <a:rPr lang="en-US" altLang="zh-CN" sz="1400" b="1" dirty="0">
                  <a:solidFill>
                    <a:srgbClr val="000000"/>
                  </a:solidFill>
                  <a:latin typeface="+mn-ea"/>
                  <a:cs typeface="微软雅黑" panose="020B0503020204020204" pitchFamily="34" charset="-122"/>
                </a:rPr>
                <a:t>5</a:t>
              </a:r>
              <a:r>
                <a:rPr lang="zh-CN" altLang="en-US" sz="1400" b="1" dirty="0">
                  <a:solidFill>
                    <a:srgbClr val="000000"/>
                  </a:solidFill>
                  <a:latin typeface="+mn-ea"/>
                  <a:cs typeface="微软雅黑" panose="020B0503020204020204" pitchFamily="34" charset="-122"/>
                </a:rPr>
                <a:t>、上线部署及培训</a:t>
              </a:r>
              <a:endParaRPr lang="en-US" altLang="zh-CN" sz="1400" b="1" dirty="0">
                <a:solidFill>
                  <a:srgbClr val="000000"/>
                </a:solidFill>
                <a:latin typeface="+mn-ea"/>
                <a:cs typeface="微软雅黑" panose="020B0503020204020204" pitchFamily="34" charset="-122"/>
              </a:endParaRPr>
            </a:p>
            <a:p>
              <a:pPr marL="285750" indent="-285750">
                <a:lnSpc>
                  <a:spcPts val="1420"/>
                </a:lnSpc>
                <a:spcBef>
                  <a:spcPts val="600"/>
                </a:spcBef>
                <a:spcAft>
                  <a:spcPts val="600"/>
                </a:spcAft>
                <a:buFont typeface="Wingdings" pitchFamily="2" charset="2"/>
                <a:buChar char="Ø"/>
              </a:pPr>
              <a:r>
                <a:rPr lang="zh-CN" altLang="en-US" sz="1400" dirty="0">
                  <a:solidFill>
                    <a:srgbClr val="000000"/>
                  </a:solidFill>
                  <a:latin typeface="+mn-ea"/>
                  <a:cs typeface="微软雅黑" panose="020B0503020204020204" pitchFamily="34" charset="-122"/>
                </a:rPr>
                <a:t>配合甲方进行试点</a:t>
              </a:r>
              <a:r>
                <a:rPr lang="en-US" altLang="zh-CN" sz="1400" dirty="0">
                  <a:solidFill>
                    <a:srgbClr val="000000"/>
                  </a:solidFill>
                  <a:latin typeface="+mn-ea"/>
                  <a:cs typeface="微软雅黑" panose="020B0503020204020204" pitchFamily="34" charset="-122"/>
                </a:rPr>
                <a:t>/</a:t>
              </a:r>
              <a:r>
                <a:rPr lang="zh-CN" altLang="en-US" sz="1400" dirty="0">
                  <a:solidFill>
                    <a:srgbClr val="000000"/>
                  </a:solidFill>
                  <a:latin typeface="+mn-ea"/>
                  <a:cs typeface="微软雅黑" panose="020B0503020204020204" pitchFamily="34" charset="-122"/>
                </a:rPr>
                <a:t>正式上线推广培训</a:t>
              </a:r>
              <a:endParaRPr lang="en-US" altLang="zh-CN" sz="1400" dirty="0">
                <a:solidFill>
                  <a:srgbClr val="000000"/>
                </a:solidFill>
                <a:latin typeface="+mn-ea"/>
                <a:cs typeface="微软雅黑" panose="020B0503020204020204" pitchFamily="34" charset="-122"/>
              </a:endParaRPr>
            </a:p>
            <a:p>
              <a:pPr>
                <a:lnSpc>
                  <a:spcPts val="1420"/>
                </a:lnSpc>
                <a:spcBef>
                  <a:spcPts val="600"/>
                </a:spcBef>
                <a:spcAft>
                  <a:spcPts val="600"/>
                </a:spcAft>
              </a:pPr>
              <a:r>
                <a:rPr lang="en-US" altLang="zh-CN" sz="1400" b="1" dirty="0">
                  <a:solidFill>
                    <a:srgbClr val="000000"/>
                  </a:solidFill>
                  <a:latin typeface="+mn-ea"/>
                  <a:cs typeface="微软雅黑" panose="020B0503020204020204" pitchFamily="34" charset="-122"/>
                </a:rPr>
                <a:t>6</a:t>
              </a:r>
              <a:r>
                <a:rPr lang="zh-CN" altLang="en-US" sz="1400" b="1" dirty="0">
                  <a:solidFill>
                    <a:srgbClr val="000000"/>
                  </a:solidFill>
                  <a:latin typeface="+mn-ea"/>
                  <a:cs typeface="微软雅黑" panose="020B0503020204020204" pitchFamily="34" charset="-122"/>
                </a:rPr>
                <a:t>、系统维护（一年）</a:t>
              </a:r>
              <a:endParaRPr lang="en-US" altLang="zh-CN" sz="1400" b="1" dirty="0">
                <a:solidFill>
                  <a:srgbClr val="000000"/>
                </a:solidFill>
                <a:latin typeface="+mn-ea"/>
                <a:cs typeface="微软雅黑" panose="020B0503020204020204" pitchFamily="34" charset="-122"/>
              </a:endParaRPr>
            </a:p>
          </p:txBody>
        </p:sp>
        <p:sp>
          <p:nvSpPr>
            <p:cNvPr id="20" name="矩形 19">
              <a:extLst>
                <a:ext uri="{FF2B5EF4-FFF2-40B4-BE49-F238E27FC236}">
                  <a16:creationId xmlns:a16="http://schemas.microsoft.com/office/drawing/2014/main" id="{ACF8A98E-E647-FC46-82BC-13BD9BBB90BC}"/>
                </a:ext>
              </a:extLst>
            </p:cNvPr>
            <p:cNvSpPr/>
            <p:nvPr/>
          </p:nvSpPr>
          <p:spPr>
            <a:xfrm>
              <a:off x="1567" y="2636"/>
              <a:ext cx="4556" cy="661"/>
            </a:xfrm>
            <a:prstGeom prst="rect">
              <a:avLst/>
            </a:prstGeom>
            <a:solidFill>
              <a:srgbClr val="005DA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b="1" dirty="0">
                  <a:solidFill>
                    <a:schemeClr val="bg1"/>
                  </a:solidFill>
                  <a:latin typeface="+mn-ea"/>
                  <a:sym typeface="+mn-ea"/>
                </a:rPr>
                <a:t>乙方工作职责</a:t>
              </a:r>
            </a:p>
          </p:txBody>
        </p:sp>
      </p:grpSp>
      <p:sp>
        <p:nvSpPr>
          <p:cNvPr id="11" name="矩形 10">
            <a:extLst>
              <a:ext uri="{FF2B5EF4-FFF2-40B4-BE49-F238E27FC236}">
                <a16:creationId xmlns:a16="http://schemas.microsoft.com/office/drawing/2014/main" id="{5673D13A-98F4-314D-A285-647BBABFFDB8}"/>
              </a:ext>
            </a:extLst>
          </p:cNvPr>
          <p:cNvSpPr/>
          <p:nvPr/>
        </p:nvSpPr>
        <p:spPr>
          <a:xfrm>
            <a:off x="0" y="217895"/>
            <a:ext cx="2404154" cy="5276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zh-CN" altLang="en-US" sz="2800" b="1" dirty="0">
                <a:solidFill>
                  <a:schemeClr val="tx1"/>
                </a:solidFill>
                <a:latin typeface="方正兰亭纤黑简体" panose="02000000000000000000" pitchFamily="2" charset="-122"/>
                <a:ea typeface="方正兰亭纤黑简体" panose="02000000000000000000" pitchFamily="2" charset="-122"/>
              </a:rPr>
              <a:t>主要工作职责</a:t>
            </a:r>
          </a:p>
        </p:txBody>
      </p:sp>
    </p:spTree>
    <p:extLst>
      <p:ext uri="{BB962C8B-B14F-4D97-AF65-F5344CB8AC3E}">
        <p14:creationId xmlns:p14="http://schemas.microsoft.com/office/powerpoint/2010/main" val="74538415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矩形 13">
            <a:extLst>
              <a:ext uri="{FF2B5EF4-FFF2-40B4-BE49-F238E27FC236}">
                <a16:creationId xmlns:a16="http://schemas.microsoft.com/office/drawing/2014/main" id="{EFD5A42D-FCC7-490F-BC97-8AB1A87DCECB}"/>
              </a:ext>
            </a:extLst>
          </p:cNvPr>
          <p:cNvSpPr/>
          <p:nvPr/>
        </p:nvSpPr>
        <p:spPr>
          <a:xfrm>
            <a:off x="190485" y="211793"/>
            <a:ext cx="2404154" cy="5276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zh-CN" altLang="en-US" sz="2800" b="1" dirty="0">
                <a:solidFill>
                  <a:schemeClr val="tx1"/>
                </a:solidFill>
                <a:latin typeface="方正兰亭纤黑简体" panose="02000000000000000000" pitchFamily="2" charset="-122"/>
                <a:ea typeface="方正兰亭纤黑简体" panose="02000000000000000000" pitchFamily="2" charset="-122"/>
              </a:rPr>
              <a:t>项目总体计划</a:t>
            </a:r>
          </a:p>
        </p:txBody>
      </p:sp>
      <p:graphicFrame>
        <p:nvGraphicFramePr>
          <p:cNvPr id="5" name="表格 4">
            <a:extLst>
              <a:ext uri="{FF2B5EF4-FFF2-40B4-BE49-F238E27FC236}">
                <a16:creationId xmlns:a16="http://schemas.microsoft.com/office/drawing/2014/main" id="{BB61F01D-EC52-E240-A6E8-0348F4E7066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10619106"/>
              </p:ext>
            </p:extLst>
          </p:nvPr>
        </p:nvGraphicFramePr>
        <p:xfrm>
          <a:off x="1839675" y="1538938"/>
          <a:ext cx="9380027" cy="304800"/>
        </p:xfrm>
        <a:graphic>
          <a:graphicData uri="http://schemas.openxmlformats.org/drawingml/2006/table">
            <a:tbl>
              <a:tblPr firstRow="1" bandRow="1"/>
              <a:tblGrid>
                <a:gridCol w="1707915">
                  <a:extLst>
                    <a:ext uri="{9D8B030D-6E8A-4147-A177-3AD203B41FA5}">
                      <a16:colId xmlns:a16="http://schemas.microsoft.com/office/drawing/2014/main" val="2650649910"/>
                    </a:ext>
                  </a:extLst>
                </a:gridCol>
                <a:gridCol w="170791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1381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3253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50892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508927">
                  <a:extLst>
                    <a:ext uri="{9D8B030D-6E8A-4147-A177-3AD203B41FA5}">
                      <a16:colId xmlns:a16="http://schemas.microsoft.com/office/drawing/2014/main" val="2074795326"/>
                    </a:ext>
                  </a:extLst>
                </a:gridCol>
              </a:tblGrid>
              <a:tr h="278943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7</a:t>
                      </a:r>
                      <a:r>
                        <a:rPr lang="zh-CN" altLang="en-US" sz="140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</a:t>
                      </a:r>
                      <a:endParaRPr lang="en-US" sz="140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6000" marR="3600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>
                      <a:lvl1pPr marL="0" marR="0" indent="0" algn="ctr" defTabSz="8255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400" b="1" i="0" u="none" strike="noStrike" cap="none" spc="0" baseline="0">
                          <a:ln>
                            <a:noFill/>
                          </a:ln>
                          <a:solidFill>
                            <a:schemeClr val="lt1"/>
                          </a:solidFill>
                          <a:uFillTx/>
                          <a:latin typeface="Calibri"/>
                          <a:ea typeface=""/>
                          <a:cs typeface=""/>
                          <a:sym typeface="Helvetica Neue Light"/>
                        </a:defRPr>
                      </a:lvl1pPr>
                      <a:lvl2pPr marL="0" marR="0" indent="0" algn="ctr" defTabSz="8255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400" b="1" i="0" u="none" strike="noStrike" cap="none" spc="0" baseline="0">
                          <a:ln>
                            <a:noFill/>
                          </a:ln>
                          <a:solidFill>
                            <a:schemeClr val="lt1"/>
                          </a:solidFill>
                          <a:uFillTx/>
                          <a:latin typeface="Calibri"/>
                          <a:ea typeface=""/>
                          <a:cs typeface=""/>
                          <a:sym typeface="Helvetica Neue Light"/>
                        </a:defRPr>
                      </a:lvl2pPr>
                      <a:lvl3pPr marL="0" marR="0" indent="0" algn="ctr" defTabSz="8255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400" b="1" i="0" u="none" strike="noStrike" cap="none" spc="0" baseline="0">
                          <a:ln>
                            <a:noFill/>
                          </a:ln>
                          <a:solidFill>
                            <a:schemeClr val="lt1"/>
                          </a:solidFill>
                          <a:uFillTx/>
                          <a:latin typeface="Calibri"/>
                          <a:ea typeface=""/>
                          <a:cs typeface=""/>
                          <a:sym typeface="Helvetica Neue Light"/>
                        </a:defRPr>
                      </a:lvl3pPr>
                      <a:lvl4pPr marL="0" marR="0" indent="0" algn="ctr" defTabSz="8255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400" b="1" i="0" u="none" strike="noStrike" cap="none" spc="0" baseline="0">
                          <a:ln>
                            <a:noFill/>
                          </a:ln>
                          <a:solidFill>
                            <a:schemeClr val="lt1"/>
                          </a:solidFill>
                          <a:uFillTx/>
                          <a:latin typeface="Calibri"/>
                          <a:ea typeface=""/>
                          <a:cs typeface=""/>
                          <a:sym typeface="Helvetica Neue Light"/>
                        </a:defRPr>
                      </a:lvl4pPr>
                      <a:lvl5pPr marL="0" marR="0" indent="0" algn="ctr" defTabSz="8255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400" b="1" i="0" u="none" strike="noStrike" cap="none" spc="0" baseline="0">
                          <a:ln>
                            <a:noFill/>
                          </a:ln>
                          <a:solidFill>
                            <a:schemeClr val="lt1"/>
                          </a:solidFill>
                          <a:uFillTx/>
                          <a:latin typeface="Calibri"/>
                          <a:ea typeface=""/>
                          <a:cs typeface=""/>
                          <a:sym typeface="Helvetica Neue Light"/>
                        </a:defRPr>
                      </a:lvl5pPr>
                      <a:lvl6pPr marL="0" marR="0" indent="0" algn="ctr" defTabSz="8255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400" b="1" i="0" u="none" strike="noStrike" cap="none" spc="0" baseline="0">
                          <a:ln>
                            <a:noFill/>
                          </a:ln>
                          <a:solidFill>
                            <a:schemeClr val="lt1"/>
                          </a:solidFill>
                          <a:uFillTx/>
                          <a:latin typeface="Calibri"/>
                          <a:ea typeface=""/>
                          <a:cs typeface=""/>
                          <a:sym typeface="Helvetica Neue Light"/>
                        </a:defRPr>
                      </a:lvl6pPr>
                      <a:lvl7pPr marL="0" marR="0" indent="0" algn="ctr" defTabSz="8255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400" b="1" i="0" u="none" strike="noStrike" cap="none" spc="0" baseline="0">
                          <a:ln>
                            <a:noFill/>
                          </a:ln>
                          <a:solidFill>
                            <a:schemeClr val="lt1"/>
                          </a:solidFill>
                          <a:uFillTx/>
                          <a:latin typeface="Calibri"/>
                          <a:ea typeface=""/>
                          <a:cs typeface=""/>
                          <a:sym typeface="Helvetica Neue Light"/>
                        </a:defRPr>
                      </a:lvl7pPr>
                      <a:lvl8pPr marL="0" marR="0" indent="0" algn="ctr" defTabSz="8255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400" b="1" i="0" u="none" strike="noStrike" cap="none" spc="0" baseline="0">
                          <a:ln>
                            <a:noFill/>
                          </a:ln>
                          <a:solidFill>
                            <a:schemeClr val="lt1"/>
                          </a:solidFill>
                          <a:uFillTx/>
                          <a:latin typeface="Calibri"/>
                          <a:ea typeface=""/>
                          <a:cs typeface=""/>
                          <a:sym typeface="Helvetica Neue Light"/>
                        </a:defRPr>
                      </a:lvl8pPr>
                      <a:lvl9pPr marL="0" marR="0" indent="0" algn="ctr" defTabSz="8255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400" b="1" i="0" u="none" strike="noStrike" cap="none" spc="0" baseline="0">
                          <a:ln>
                            <a:noFill/>
                          </a:ln>
                          <a:solidFill>
                            <a:schemeClr val="lt1"/>
                          </a:solidFill>
                          <a:uFillTx/>
                          <a:latin typeface="Calibri"/>
                          <a:ea typeface=""/>
                          <a:cs typeface=""/>
                          <a:sym typeface="Helvetica Neue Light"/>
                        </a:defRPr>
                      </a:lvl9pPr>
                    </a:lstStyle>
                    <a:p>
                      <a:pPr algn="ctr"/>
                      <a:r>
                        <a:rPr lang="en-US" altLang="zh-CN" sz="140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8</a:t>
                      </a:r>
                      <a:r>
                        <a:rPr lang="zh-CN" altLang="en-US" sz="140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</a:t>
                      </a:r>
                      <a:endParaRPr lang="en-US" sz="140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6000" marR="3600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>
                      <a:lvl1pPr marL="0" marR="0" indent="0" algn="ctr" defTabSz="8255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400" b="1" i="0" u="none" strike="noStrike" cap="none" spc="0" baseline="0">
                          <a:ln>
                            <a:noFill/>
                          </a:ln>
                          <a:solidFill>
                            <a:schemeClr val="lt1"/>
                          </a:solidFill>
                          <a:uFillTx/>
                          <a:latin typeface="Calibri"/>
                          <a:ea typeface=""/>
                          <a:cs typeface=""/>
                          <a:sym typeface="Helvetica Neue Light"/>
                        </a:defRPr>
                      </a:lvl1pPr>
                      <a:lvl2pPr marL="0" marR="0" indent="0" algn="ctr" defTabSz="8255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400" b="1" i="0" u="none" strike="noStrike" cap="none" spc="0" baseline="0">
                          <a:ln>
                            <a:noFill/>
                          </a:ln>
                          <a:solidFill>
                            <a:schemeClr val="lt1"/>
                          </a:solidFill>
                          <a:uFillTx/>
                          <a:latin typeface="Calibri"/>
                          <a:ea typeface=""/>
                          <a:cs typeface=""/>
                          <a:sym typeface="Helvetica Neue Light"/>
                        </a:defRPr>
                      </a:lvl2pPr>
                      <a:lvl3pPr marL="0" marR="0" indent="0" algn="ctr" defTabSz="8255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400" b="1" i="0" u="none" strike="noStrike" cap="none" spc="0" baseline="0">
                          <a:ln>
                            <a:noFill/>
                          </a:ln>
                          <a:solidFill>
                            <a:schemeClr val="lt1"/>
                          </a:solidFill>
                          <a:uFillTx/>
                          <a:latin typeface="Calibri"/>
                          <a:ea typeface=""/>
                          <a:cs typeface=""/>
                          <a:sym typeface="Helvetica Neue Light"/>
                        </a:defRPr>
                      </a:lvl3pPr>
                      <a:lvl4pPr marL="0" marR="0" indent="0" algn="ctr" defTabSz="8255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400" b="1" i="0" u="none" strike="noStrike" cap="none" spc="0" baseline="0">
                          <a:ln>
                            <a:noFill/>
                          </a:ln>
                          <a:solidFill>
                            <a:schemeClr val="lt1"/>
                          </a:solidFill>
                          <a:uFillTx/>
                          <a:latin typeface="Calibri"/>
                          <a:ea typeface=""/>
                          <a:cs typeface=""/>
                          <a:sym typeface="Helvetica Neue Light"/>
                        </a:defRPr>
                      </a:lvl4pPr>
                      <a:lvl5pPr marL="0" marR="0" indent="0" algn="ctr" defTabSz="8255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400" b="1" i="0" u="none" strike="noStrike" cap="none" spc="0" baseline="0">
                          <a:ln>
                            <a:noFill/>
                          </a:ln>
                          <a:solidFill>
                            <a:schemeClr val="lt1"/>
                          </a:solidFill>
                          <a:uFillTx/>
                          <a:latin typeface="Calibri"/>
                          <a:ea typeface=""/>
                          <a:cs typeface=""/>
                          <a:sym typeface="Helvetica Neue Light"/>
                        </a:defRPr>
                      </a:lvl5pPr>
                      <a:lvl6pPr marL="0" marR="0" indent="0" algn="ctr" defTabSz="8255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400" b="1" i="0" u="none" strike="noStrike" cap="none" spc="0" baseline="0">
                          <a:ln>
                            <a:noFill/>
                          </a:ln>
                          <a:solidFill>
                            <a:schemeClr val="lt1"/>
                          </a:solidFill>
                          <a:uFillTx/>
                          <a:latin typeface="Calibri"/>
                          <a:ea typeface=""/>
                          <a:cs typeface=""/>
                          <a:sym typeface="Helvetica Neue Light"/>
                        </a:defRPr>
                      </a:lvl6pPr>
                      <a:lvl7pPr marL="0" marR="0" indent="0" algn="ctr" defTabSz="8255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400" b="1" i="0" u="none" strike="noStrike" cap="none" spc="0" baseline="0">
                          <a:ln>
                            <a:noFill/>
                          </a:ln>
                          <a:solidFill>
                            <a:schemeClr val="lt1"/>
                          </a:solidFill>
                          <a:uFillTx/>
                          <a:latin typeface="Calibri"/>
                          <a:ea typeface=""/>
                          <a:cs typeface=""/>
                          <a:sym typeface="Helvetica Neue Light"/>
                        </a:defRPr>
                      </a:lvl7pPr>
                      <a:lvl8pPr marL="0" marR="0" indent="0" algn="ctr" defTabSz="8255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400" b="1" i="0" u="none" strike="noStrike" cap="none" spc="0" baseline="0">
                          <a:ln>
                            <a:noFill/>
                          </a:ln>
                          <a:solidFill>
                            <a:schemeClr val="lt1"/>
                          </a:solidFill>
                          <a:uFillTx/>
                          <a:latin typeface="Calibri"/>
                          <a:ea typeface=""/>
                          <a:cs typeface=""/>
                          <a:sym typeface="Helvetica Neue Light"/>
                        </a:defRPr>
                      </a:lvl8pPr>
                      <a:lvl9pPr marL="0" marR="0" indent="0" algn="ctr" defTabSz="8255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400" b="1" i="0" u="none" strike="noStrike" cap="none" spc="0" baseline="0">
                          <a:ln>
                            <a:noFill/>
                          </a:ln>
                          <a:solidFill>
                            <a:schemeClr val="lt1"/>
                          </a:solidFill>
                          <a:uFillTx/>
                          <a:latin typeface="Calibri"/>
                          <a:ea typeface=""/>
                          <a:cs typeface=""/>
                          <a:sym typeface="Helvetica Neue Light"/>
                        </a:defRPr>
                      </a:lvl9pPr>
                    </a:lstStyle>
                    <a:p>
                      <a:pPr algn="ctr"/>
                      <a:r>
                        <a:rPr lang="en-US" altLang="zh-CN" sz="140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9</a:t>
                      </a:r>
                      <a:r>
                        <a:rPr lang="zh-CN" altLang="en-US" sz="140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</a:t>
                      </a:r>
                      <a:endParaRPr lang="en-US" sz="140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6000" marR="3600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>
                      <a:lvl1pPr marL="0" marR="0" indent="0" algn="ctr" defTabSz="8255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400" b="1" i="0" u="none" strike="noStrike" cap="none" spc="0" baseline="0">
                          <a:ln>
                            <a:noFill/>
                          </a:ln>
                          <a:solidFill>
                            <a:schemeClr val="lt1"/>
                          </a:solidFill>
                          <a:uFillTx/>
                          <a:latin typeface="Calibri"/>
                          <a:ea typeface=""/>
                          <a:cs typeface=""/>
                          <a:sym typeface="Helvetica Neue Light"/>
                        </a:defRPr>
                      </a:lvl1pPr>
                      <a:lvl2pPr marL="0" marR="0" indent="0" algn="ctr" defTabSz="8255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400" b="1" i="0" u="none" strike="noStrike" cap="none" spc="0" baseline="0">
                          <a:ln>
                            <a:noFill/>
                          </a:ln>
                          <a:solidFill>
                            <a:schemeClr val="lt1"/>
                          </a:solidFill>
                          <a:uFillTx/>
                          <a:latin typeface="Calibri"/>
                          <a:ea typeface=""/>
                          <a:cs typeface=""/>
                          <a:sym typeface="Helvetica Neue Light"/>
                        </a:defRPr>
                      </a:lvl2pPr>
                      <a:lvl3pPr marL="0" marR="0" indent="0" algn="ctr" defTabSz="8255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400" b="1" i="0" u="none" strike="noStrike" cap="none" spc="0" baseline="0">
                          <a:ln>
                            <a:noFill/>
                          </a:ln>
                          <a:solidFill>
                            <a:schemeClr val="lt1"/>
                          </a:solidFill>
                          <a:uFillTx/>
                          <a:latin typeface="Calibri"/>
                          <a:ea typeface=""/>
                          <a:cs typeface=""/>
                          <a:sym typeface="Helvetica Neue Light"/>
                        </a:defRPr>
                      </a:lvl3pPr>
                      <a:lvl4pPr marL="0" marR="0" indent="0" algn="ctr" defTabSz="8255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400" b="1" i="0" u="none" strike="noStrike" cap="none" spc="0" baseline="0">
                          <a:ln>
                            <a:noFill/>
                          </a:ln>
                          <a:solidFill>
                            <a:schemeClr val="lt1"/>
                          </a:solidFill>
                          <a:uFillTx/>
                          <a:latin typeface="Calibri"/>
                          <a:ea typeface=""/>
                          <a:cs typeface=""/>
                          <a:sym typeface="Helvetica Neue Light"/>
                        </a:defRPr>
                      </a:lvl4pPr>
                      <a:lvl5pPr marL="0" marR="0" indent="0" algn="ctr" defTabSz="8255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400" b="1" i="0" u="none" strike="noStrike" cap="none" spc="0" baseline="0">
                          <a:ln>
                            <a:noFill/>
                          </a:ln>
                          <a:solidFill>
                            <a:schemeClr val="lt1"/>
                          </a:solidFill>
                          <a:uFillTx/>
                          <a:latin typeface="Calibri"/>
                          <a:ea typeface=""/>
                          <a:cs typeface=""/>
                          <a:sym typeface="Helvetica Neue Light"/>
                        </a:defRPr>
                      </a:lvl5pPr>
                      <a:lvl6pPr marL="0" marR="0" indent="0" algn="ctr" defTabSz="8255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400" b="1" i="0" u="none" strike="noStrike" cap="none" spc="0" baseline="0">
                          <a:ln>
                            <a:noFill/>
                          </a:ln>
                          <a:solidFill>
                            <a:schemeClr val="lt1"/>
                          </a:solidFill>
                          <a:uFillTx/>
                          <a:latin typeface="Calibri"/>
                          <a:ea typeface=""/>
                          <a:cs typeface=""/>
                          <a:sym typeface="Helvetica Neue Light"/>
                        </a:defRPr>
                      </a:lvl6pPr>
                      <a:lvl7pPr marL="0" marR="0" indent="0" algn="ctr" defTabSz="8255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400" b="1" i="0" u="none" strike="noStrike" cap="none" spc="0" baseline="0">
                          <a:ln>
                            <a:noFill/>
                          </a:ln>
                          <a:solidFill>
                            <a:schemeClr val="lt1"/>
                          </a:solidFill>
                          <a:uFillTx/>
                          <a:latin typeface="Calibri"/>
                          <a:ea typeface=""/>
                          <a:cs typeface=""/>
                          <a:sym typeface="Helvetica Neue Light"/>
                        </a:defRPr>
                      </a:lvl7pPr>
                      <a:lvl8pPr marL="0" marR="0" indent="0" algn="ctr" defTabSz="8255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400" b="1" i="0" u="none" strike="noStrike" cap="none" spc="0" baseline="0">
                          <a:ln>
                            <a:noFill/>
                          </a:ln>
                          <a:solidFill>
                            <a:schemeClr val="lt1"/>
                          </a:solidFill>
                          <a:uFillTx/>
                          <a:latin typeface="Calibri"/>
                          <a:ea typeface=""/>
                          <a:cs typeface=""/>
                          <a:sym typeface="Helvetica Neue Light"/>
                        </a:defRPr>
                      </a:lvl8pPr>
                      <a:lvl9pPr marL="0" marR="0" indent="0" algn="ctr" defTabSz="8255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400" b="1" i="0" u="none" strike="noStrike" cap="none" spc="0" baseline="0">
                          <a:ln>
                            <a:noFill/>
                          </a:ln>
                          <a:solidFill>
                            <a:schemeClr val="lt1"/>
                          </a:solidFill>
                          <a:uFillTx/>
                          <a:latin typeface="Calibri"/>
                          <a:ea typeface=""/>
                          <a:cs typeface=""/>
                          <a:sym typeface="Helvetica Neue Light"/>
                        </a:defRPr>
                      </a:lvl9pPr>
                    </a:lstStyle>
                    <a:p>
                      <a:pPr algn="ctr"/>
                      <a:r>
                        <a:rPr lang="en-US" altLang="zh-CN" sz="140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</a:t>
                      </a:r>
                      <a:r>
                        <a:rPr lang="zh-CN" altLang="en-US" sz="140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</a:t>
                      </a:r>
                      <a:endParaRPr lang="en-US" sz="140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6000" marR="3600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>
                      <a:lvl1pPr marL="0" marR="0" indent="0" algn="ctr" defTabSz="8255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400" b="1" i="0" u="none" strike="noStrike" cap="none" spc="0" baseline="0">
                          <a:ln>
                            <a:noFill/>
                          </a:ln>
                          <a:solidFill>
                            <a:schemeClr val="lt1"/>
                          </a:solidFill>
                          <a:uFillTx/>
                          <a:latin typeface="Calibri"/>
                          <a:ea typeface=""/>
                          <a:cs typeface=""/>
                          <a:sym typeface="Helvetica Neue Light"/>
                        </a:defRPr>
                      </a:lvl1pPr>
                      <a:lvl2pPr marL="0" marR="0" indent="0" algn="ctr" defTabSz="8255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400" b="1" i="0" u="none" strike="noStrike" cap="none" spc="0" baseline="0">
                          <a:ln>
                            <a:noFill/>
                          </a:ln>
                          <a:solidFill>
                            <a:schemeClr val="lt1"/>
                          </a:solidFill>
                          <a:uFillTx/>
                          <a:latin typeface="Calibri"/>
                          <a:ea typeface=""/>
                          <a:cs typeface=""/>
                          <a:sym typeface="Helvetica Neue Light"/>
                        </a:defRPr>
                      </a:lvl2pPr>
                      <a:lvl3pPr marL="0" marR="0" indent="0" algn="ctr" defTabSz="8255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400" b="1" i="0" u="none" strike="noStrike" cap="none" spc="0" baseline="0">
                          <a:ln>
                            <a:noFill/>
                          </a:ln>
                          <a:solidFill>
                            <a:schemeClr val="lt1"/>
                          </a:solidFill>
                          <a:uFillTx/>
                          <a:latin typeface="Calibri"/>
                          <a:ea typeface=""/>
                          <a:cs typeface=""/>
                          <a:sym typeface="Helvetica Neue Light"/>
                        </a:defRPr>
                      </a:lvl3pPr>
                      <a:lvl4pPr marL="0" marR="0" indent="0" algn="ctr" defTabSz="8255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400" b="1" i="0" u="none" strike="noStrike" cap="none" spc="0" baseline="0">
                          <a:ln>
                            <a:noFill/>
                          </a:ln>
                          <a:solidFill>
                            <a:schemeClr val="lt1"/>
                          </a:solidFill>
                          <a:uFillTx/>
                          <a:latin typeface="Calibri"/>
                          <a:ea typeface=""/>
                          <a:cs typeface=""/>
                          <a:sym typeface="Helvetica Neue Light"/>
                        </a:defRPr>
                      </a:lvl4pPr>
                      <a:lvl5pPr marL="0" marR="0" indent="0" algn="ctr" defTabSz="8255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400" b="1" i="0" u="none" strike="noStrike" cap="none" spc="0" baseline="0">
                          <a:ln>
                            <a:noFill/>
                          </a:ln>
                          <a:solidFill>
                            <a:schemeClr val="lt1"/>
                          </a:solidFill>
                          <a:uFillTx/>
                          <a:latin typeface="Calibri"/>
                          <a:ea typeface=""/>
                          <a:cs typeface=""/>
                          <a:sym typeface="Helvetica Neue Light"/>
                        </a:defRPr>
                      </a:lvl5pPr>
                      <a:lvl6pPr marL="0" marR="0" indent="0" algn="ctr" defTabSz="8255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400" b="1" i="0" u="none" strike="noStrike" cap="none" spc="0" baseline="0">
                          <a:ln>
                            <a:noFill/>
                          </a:ln>
                          <a:solidFill>
                            <a:schemeClr val="lt1"/>
                          </a:solidFill>
                          <a:uFillTx/>
                          <a:latin typeface="Calibri"/>
                          <a:ea typeface=""/>
                          <a:cs typeface=""/>
                          <a:sym typeface="Helvetica Neue Light"/>
                        </a:defRPr>
                      </a:lvl6pPr>
                      <a:lvl7pPr marL="0" marR="0" indent="0" algn="ctr" defTabSz="8255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400" b="1" i="0" u="none" strike="noStrike" cap="none" spc="0" baseline="0">
                          <a:ln>
                            <a:noFill/>
                          </a:ln>
                          <a:solidFill>
                            <a:schemeClr val="lt1"/>
                          </a:solidFill>
                          <a:uFillTx/>
                          <a:latin typeface="Calibri"/>
                          <a:ea typeface=""/>
                          <a:cs typeface=""/>
                          <a:sym typeface="Helvetica Neue Light"/>
                        </a:defRPr>
                      </a:lvl7pPr>
                      <a:lvl8pPr marL="0" marR="0" indent="0" algn="ctr" defTabSz="8255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400" b="1" i="0" u="none" strike="noStrike" cap="none" spc="0" baseline="0">
                          <a:ln>
                            <a:noFill/>
                          </a:ln>
                          <a:solidFill>
                            <a:schemeClr val="lt1"/>
                          </a:solidFill>
                          <a:uFillTx/>
                          <a:latin typeface="Calibri"/>
                          <a:ea typeface=""/>
                          <a:cs typeface=""/>
                          <a:sym typeface="Helvetica Neue Light"/>
                        </a:defRPr>
                      </a:lvl8pPr>
                      <a:lvl9pPr marL="0" marR="0" indent="0" algn="ctr" defTabSz="8255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400" b="1" i="0" u="none" strike="noStrike" cap="none" spc="0" baseline="0">
                          <a:ln>
                            <a:noFill/>
                          </a:ln>
                          <a:solidFill>
                            <a:schemeClr val="lt1"/>
                          </a:solidFill>
                          <a:uFillTx/>
                          <a:latin typeface="Calibri"/>
                          <a:ea typeface=""/>
                          <a:cs typeface=""/>
                          <a:sym typeface="Helvetica Neue Light"/>
                        </a:defRPr>
                      </a:lvl9pPr>
                    </a:lstStyle>
                    <a:p>
                      <a:pPr algn="ctr"/>
                      <a:r>
                        <a:rPr lang="en-US" altLang="zh-CN" sz="140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1</a:t>
                      </a:r>
                      <a:r>
                        <a:rPr lang="zh-CN" altLang="en-US" sz="140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</a:t>
                      </a:r>
                      <a:endParaRPr lang="en-US" sz="140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6000" marR="36000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</a:t>
                      </a:r>
                      <a:r>
                        <a:rPr lang="zh-CN" altLang="en-US" sz="140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</a:t>
                      </a:r>
                      <a:endParaRPr lang="en-US" sz="140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6000" marR="36000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6" name="五边形 5">
            <a:extLst>
              <a:ext uri="{FF2B5EF4-FFF2-40B4-BE49-F238E27FC236}">
                <a16:creationId xmlns:a16="http://schemas.microsoft.com/office/drawing/2014/main" id="{4CF92DEA-4C8A-2C40-9BE2-5EE4ED9D1840}"/>
              </a:ext>
            </a:extLst>
          </p:cNvPr>
          <p:cNvSpPr/>
          <p:nvPr/>
        </p:nvSpPr>
        <p:spPr>
          <a:xfrm>
            <a:off x="3205384" y="2585519"/>
            <a:ext cx="1360168" cy="377130"/>
          </a:xfrm>
          <a:prstGeom prst="homePlate">
            <a:avLst>
              <a:gd name="adj" fmla="val 19154"/>
            </a:avLst>
          </a:prstGeom>
          <a:solidFill>
            <a:srgbClr val="4F81BD">
              <a:lumMod val="20000"/>
              <a:lumOff val="8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lIns="0" rIns="36000" rtlCol="0" anchor="ctr"/>
          <a:lstStyle/>
          <a:p>
            <a:pPr algn="ctr"/>
            <a:endParaRPr lang="zh-CN" altLang="en-US" sz="14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五边形 6">
            <a:extLst>
              <a:ext uri="{FF2B5EF4-FFF2-40B4-BE49-F238E27FC236}">
                <a16:creationId xmlns:a16="http://schemas.microsoft.com/office/drawing/2014/main" id="{70483004-299A-A645-A1E4-8A895380C632}"/>
              </a:ext>
            </a:extLst>
          </p:cNvPr>
          <p:cNvSpPr/>
          <p:nvPr/>
        </p:nvSpPr>
        <p:spPr>
          <a:xfrm>
            <a:off x="5003764" y="3799697"/>
            <a:ext cx="2546292" cy="378000"/>
          </a:xfrm>
          <a:prstGeom prst="homePlate">
            <a:avLst>
              <a:gd name="adj" fmla="val 19154"/>
            </a:avLst>
          </a:prstGeom>
          <a:solidFill>
            <a:srgbClr val="4F81BD">
              <a:lumMod val="20000"/>
              <a:lumOff val="8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lIns="0" rIns="36000" rtlCol="0" anchor="ctr"/>
          <a:lstStyle/>
          <a:p>
            <a:pPr algn="ctr"/>
            <a:endParaRPr lang="zh-CN" altLang="en-US" sz="14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8" name="直接连接符 37">
            <a:extLst>
              <a:ext uri="{FF2B5EF4-FFF2-40B4-BE49-F238E27FC236}">
                <a16:creationId xmlns:a16="http://schemas.microsoft.com/office/drawing/2014/main" id="{C20A03AE-4686-604C-8998-2E51AF515C2E}"/>
              </a:ext>
            </a:extLst>
          </p:cNvPr>
          <p:cNvCxnSpPr>
            <a:cxnSpLocks/>
          </p:cNvCxnSpPr>
          <p:nvPr/>
        </p:nvCxnSpPr>
        <p:spPr>
          <a:xfrm>
            <a:off x="6645102" y="1757069"/>
            <a:ext cx="50848" cy="482400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直接连接符 38">
            <a:extLst>
              <a:ext uri="{FF2B5EF4-FFF2-40B4-BE49-F238E27FC236}">
                <a16:creationId xmlns:a16="http://schemas.microsoft.com/office/drawing/2014/main" id="{3DBA1006-3910-A04C-B91F-518C38D59B1A}"/>
              </a:ext>
            </a:extLst>
          </p:cNvPr>
          <p:cNvCxnSpPr>
            <a:cxnSpLocks/>
          </p:cNvCxnSpPr>
          <p:nvPr/>
        </p:nvCxnSpPr>
        <p:spPr>
          <a:xfrm>
            <a:off x="5246974" y="1652297"/>
            <a:ext cx="63782" cy="486000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直接连接符 39">
            <a:extLst>
              <a:ext uri="{FF2B5EF4-FFF2-40B4-BE49-F238E27FC236}">
                <a16:creationId xmlns:a16="http://schemas.microsoft.com/office/drawing/2014/main" id="{4E2A96DA-ADF3-7441-893E-BC1E356E47FD}"/>
              </a:ext>
            </a:extLst>
          </p:cNvPr>
          <p:cNvCxnSpPr>
            <a:cxnSpLocks/>
          </p:cNvCxnSpPr>
          <p:nvPr/>
        </p:nvCxnSpPr>
        <p:spPr>
          <a:xfrm>
            <a:off x="8195507" y="1823394"/>
            <a:ext cx="67219" cy="4657569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矩形 10">
            <a:extLst>
              <a:ext uri="{FF2B5EF4-FFF2-40B4-BE49-F238E27FC236}">
                <a16:creationId xmlns:a16="http://schemas.microsoft.com/office/drawing/2014/main" id="{65D3CA48-7033-9E43-858E-0CC1A81D94CB}"/>
              </a:ext>
            </a:extLst>
          </p:cNvPr>
          <p:cNvSpPr/>
          <p:nvPr/>
        </p:nvSpPr>
        <p:spPr>
          <a:xfrm>
            <a:off x="319975" y="2638013"/>
            <a:ext cx="1504178" cy="465517"/>
          </a:xfrm>
          <a:prstGeom prst="rect">
            <a:avLst/>
          </a:prstGeom>
          <a:solidFill>
            <a:srgbClr val="4F81BD">
              <a:lumMod val="20000"/>
              <a:lumOff val="80000"/>
            </a:srgbClr>
          </a:solidFill>
          <a:ln w="317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需求调研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29C19F32-3340-4344-BB86-00493ECD8C5D}"/>
              </a:ext>
            </a:extLst>
          </p:cNvPr>
          <p:cNvSpPr/>
          <p:nvPr/>
        </p:nvSpPr>
        <p:spPr>
          <a:xfrm>
            <a:off x="317590" y="3210333"/>
            <a:ext cx="1504178" cy="465517"/>
          </a:xfrm>
          <a:prstGeom prst="rect">
            <a:avLst/>
          </a:prstGeom>
          <a:solidFill>
            <a:srgbClr val="4F81BD">
              <a:lumMod val="20000"/>
              <a:lumOff val="80000"/>
            </a:srgbClr>
          </a:solidFill>
          <a:ln w="317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/>
            <a:r>
              <a:rPr lang="zh-CN" altLang="en-US" sz="14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蓝图设计</a:t>
            </a:r>
            <a:r>
              <a:rPr lang="en-US" altLang="zh-CN" sz="14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4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开发设计</a:t>
            </a: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A8AA86DA-62E9-2947-B6F2-86318224C35A}"/>
              </a:ext>
            </a:extLst>
          </p:cNvPr>
          <p:cNvSpPr/>
          <p:nvPr/>
        </p:nvSpPr>
        <p:spPr>
          <a:xfrm>
            <a:off x="317590" y="3782653"/>
            <a:ext cx="1504178" cy="465517"/>
          </a:xfrm>
          <a:prstGeom prst="rect">
            <a:avLst/>
          </a:prstGeom>
          <a:solidFill>
            <a:srgbClr val="4F81BD">
              <a:lumMod val="20000"/>
              <a:lumOff val="80000"/>
            </a:srgbClr>
          </a:solidFill>
          <a:ln w="317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第一阶段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系统开发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67357D1A-FCFA-B84A-ABE3-6B7558854458}"/>
              </a:ext>
            </a:extLst>
          </p:cNvPr>
          <p:cNvSpPr/>
          <p:nvPr/>
        </p:nvSpPr>
        <p:spPr>
          <a:xfrm>
            <a:off x="325958" y="4927293"/>
            <a:ext cx="1504178" cy="465517"/>
          </a:xfrm>
          <a:prstGeom prst="rect">
            <a:avLst/>
          </a:prstGeom>
          <a:solidFill>
            <a:srgbClr val="4F81BD">
              <a:lumMod val="20000"/>
              <a:lumOff val="80000"/>
            </a:srgbClr>
          </a:solidFill>
          <a:ln w="317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/>
            <a:r>
              <a:rPr lang="zh-CN" altLang="en-US" sz="14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第一阶段</a:t>
            </a:r>
            <a:endParaRPr lang="en-US" altLang="zh-CN" sz="14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zh-CN" altLang="en-US" sz="14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试点上线</a:t>
            </a: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7CB55C87-079D-A44E-B3A9-C18F406E581B}"/>
              </a:ext>
            </a:extLst>
          </p:cNvPr>
          <p:cNvSpPr/>
          <p:nvPr/>
        </p:nvSpPr>
        <p:spPr>
          <a:xfrm>
            <a:off x="317590" y="4354973"/>
            <a:ext cx="1504178" cy="465517"/>
          </a:xfrm>
          <a:prstGeom prst="rect">
            <a:avLst/>
          </a:prstGeom>
          <a:solidFill>
            <a:srgbClr val="4F81BD">
              <a:lumMod val="20000"/>
              <a:lumOff val="80000"/>
            </a:srgbClr>
          </a:solidFill>
          <a:ln w="317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/>
            <a:r>
              <a:rPr lang="zh-CN" altLang="en-US" sz="14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第一阶段</a:t>
            </a:r>
            <a:endParaRPr lang="en-US" altLang="zh-CN" sz="14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zh-CN" altLang="en-US" sz="14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测试和调整</a:t>
            </a:r>
          </a:p>
        </p:txBody>
      </p:sp>
      <p:sp>
        <p:nvSpPr>
          <p:cNvPr id="17" name="五边形 16">
            <a:extLst>
              <a:ext uri="{FF2B5EF4-FFF2-40B4-BE49-F238E27FC236}">
                <a16:creationId xmlns:a16="http://schemas.microsoft.com/office/drawing/2014/main" id="{9B6B3781-C574-B448-8345-25717A83A6F5}"/>
              </a:ext>
            </a:extLst>
          </p:cNvPr>
          <p:cNvSpPr/>
          <p:nvPr/>
        </p:nvSpPr>
        <p:spPr>
          <a:xfrm>
            <a:off x="4193062" y="3210333"/>
            <a:ext cx="1096483" cy="376612"/>
          </a:xfrm>
          <a:prstGeom prst="homePlate">
            <a:avLst>
              <a:gd name="adj" fmla="val 19154"/>
            </a:avLst>
          </a:prstGeom>
          <a:solidFill>
            <a:srgbClr val="4F81BD">
              <a:lumMod val="20000"/>
              <a:lumOff val="8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lIns="0" rIns="36000" rtlCol="0" anchor="ctr"/>
          <a:lstStyle/>
          <a:p>
            <a:pPr algn="ctr"/>
            <a:endParaRPr lang="zh-CN" altLang="en-US" sz="14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941EAD20-1CA5-B74C-BE9C-01E8A95A155F}"/>
              </a:ext>
            </a:extLst>
          </p:cNvPr>
          <p:cNvSpPr/>
          <p:nvPr/>
        </p:nvSpPr>
        <p:spPr>
          <a:xfrm>
            <a:off x="333233" y="6071933"/>
            <a:ext cx="1504178" cy="465517"/>
          </a:xfrm>
          <a:prstGeom prst="rect">
            <a:avLst/>
          </a:prstGeom>
          <a:solidFill>
            <a:srgbClr val="4F81BD">
              <a:lumMod val="20000"/>
              <a:lumOff val="80000"/>
            </a:srgbClr>
          </a:solidFill>
          <a:ln w="317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/>
            <a:r>
              <a:rPr lang="zh-CN" altLang="en-US" sz="14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运维支持</a:t>
            </a:r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53FF0991-514E-C348-9847-605BCDAFC4C8}"/>
              </a:ext>
            </a:extLst>
          </p:cNvPr>
          <p:cNvSpPr txBox="1"/>
          <p:nvPr/>
        </p:nvSpPr>
        <p:spPr>
          <a:xfrm>
            <a:off x="310462" y="1454870"/>
            <a:ext cx="157736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阶段</a:t>
            </a:r>
          </a:p>
        </p:txBody>
      </p:sp>
      <p:sp>
        <p:nvSpPr>
          <p:cNvPr id="20" name="矩形 19">
            <a:extLst>
              <a:ext uri="{FF2B5EF4-FFF2-40B4-BE49-F238E27FC236}">
                <a16:creationId xmlns:a16="http://schemas.microsoft.com/office/drawing/2014/main" id="{41A167F9-46AE-9940-A7DB-12B0013EC26F}"/>
              </a:ext>
            </a:extLst>
          </p:cNvPr>
          <p:cNvSpPr/>
          <p:nvPr/>
        </p:nvSpPr>
        <p:spPr>
          <a:xfrm>
            <a:off x="317180" y="5499613"/>
            <a:ext cx="1504178" cy="465517"/>
          </a:xfrm>
          <a:prstGeom prst="rect">
            <a:avLst/>
          </a:prstGeom>
          <a:solidFill>
            <a:srgbClr val="4F81BD">
              <a:lumMod val="20000"/>
              <a:lumOff val="80000"/>
            </a:srgbClr>
          </a:solidFill>
          <a:ln w="317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/>
            <a:r>
              <a:rPr lang="zh-CN" altLang="en-US" sz="14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第一阶段</a:t>
            </a:r>
            <a:endParaRPr lang="en-US" altLang="zh-CN" sz="14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zh-CN" altLang="en-US" sz="14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推广上线</a:t>
            </a:r>
          </a:p>
        </p:txBody>
      </p:sp>
      <p:sp>
        <p:nvSpPr>
          <p:cNvPr id="21" name="五边形 20">
            <a:extLst>
              <a:ext uri="{FF2B5EF4-FFF2-40B4-BE49-F238E27FC236}">
                <a16:creationId xmlns:a16="http://schemas.microsoft.com/office/drawing/2014/main" id="{58BFA1C1-8617-9C46-95EA-178B3E3DA68A}"/>
              </a:ext>
            </a:extLst>
          </p:cNvPr>
          <p:cNvSpPr/>
          <p:nvPr/>
        </p:nvSpPr>
        <p:spPr>
          <a:xfrm>
            <a:off x="6055960" y="4345491"/>
            <a:ext cx="2181759" cy="378000"/>
          </a:xfrm>
          <a:prstGeom prst="homePlate">
            <a:avLst>
              <a:gd name="adj" fmla="val 19154"/>
            </a:avLst>
          </a:prstGeom>
          <a:solidFill>
            <a:srgbClr val="4F81BD">
              <a:lumMod val="20000"/>
              <a:lumOff val="8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lIns="0" r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2" name="五边形 21">
            <a:extLst>
              <a:ext uri="{FF2B5EF4-FFF2-40B4-BE49-F238E27FC236}">
                <a16:creationId xmlns:a16="http://schemas.microsoft.com/office/drawing/2014/main" id="{7EB84584-247E-A349-99AD-FB8AC36E9C53}"/>
              </a:ext>
            </a:extLst>
          </p:cNvPr>
          <p:cNvSpPr/>
          <p:nvPr/>
        </p:nvSpPr>
        <p:spPr>
          <a:xfrm>
            <a:off x="7550056" y="4936322"/>
            <a:ext cx="1645626" cy="378000"/>
          </a:xfrm>
          <a:prstGeom prst="homePlate">
            <a:avLst>
              <a:gd name="adj" fmla="val 19154"/>
            </a:avLst>
          </a:prstGeom>
          <a:solidFill>
            <a:srgbClr val="4F81BD">
              <a:lumMod val="20000"/>
              <a:lumOff val="8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lIns="0" r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23" name="直接连接符 68">
            <a:extLst>
              <a:ext uri="{FF2B5EF4-FFF2-40B4-BE49-F238E27FC236}">
                <a16:creationId xmlns:a16="http://schemas.microsoft.com/office/drawing/2014/main" id="{5D83D188-2AC0-D64A-A96C-C1F877F5C73A}"/>
              </a:ext>
            </a:extLst>
          </p:cNvPr>
          <p:cNvCxnSpPr>
            <a:cxnSpLocks/>
          </p:cNvCxnSpPr>
          <p:nvPr/>
        </p:nvCxnSpPr>
        <p:spPr>
          <a:xfrm>
            <a:off x="9696730" y="1757069"/>
            <a:ext cx="29656" cy="482400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五边形 23">
            <a:extLst>
              <a:ext uri="{FF2B5EF4-FFF2-40B4-BE49-F238E27FC236}">
                <a16:creationId xmlns:a16="http://schemas.microsoft.com/office/drawing/2014/main" id="{9CA4CE12-DF4D-2F4B-94A8-D6246464471C}"/>
              </a:ext>
            </a:extLst>
          </p:cNvPr>
          <p:cNvSpPr/>
          <p:nvPr/>
        </p:nvSpPr>
        <p:spPr>
          <a:xfrm>
            <a:off x="9067114" y="5475826"/>
            <a:ext cx="2042061" cy="378000"/>
          </a:xfrm>
          <a:prstGeom prst="homePlate">
            <a:avLst>
              <a:gd name="adj" fmla="val 19154"/>
            </a:avLst>
          </a:prstGeom>
          <a:solidFill>
            <a:srgbClr val="4F81BD">
              <a:lumMod val="20000"/>
              <a:lumOff val="8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lIns="0" r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5" name="五边形 24">
            <a:extLst>
              <a:ext uri="{FF2B5EF4-FFF2-40B4-BE49-F238E27FC236}">
                <a16:creationId xmlns:a16="http://schemas.microsoft.com/office/drawing/2014/main" id="{48F8EBC4-AF55-B34E-B4D5-4B9397803E20}"/>
              </a:ext>
            </a:extLst>
          </p:cNvPr>
          <p:cNvSpPr/>
          <p:nvPr/>
        </p:nvSpPr>
        <p:spPr>
          <a:xfrm>
            <a:off x="7550055" y="6160838"/>
            <a:ext cx="3725225" cy="376612"/>
          </a:xfrm>
          <a:prstGeom prst="homePlate">
            <a:avLst>
              <a:gd name="adj" fmla="val 19154"/>
            </a:avLst>
          </a:prstGeom>
          <a:solidFill>
            <a:srgbClr val="4F81BD">
              <a:lumMod val="20000"/>
              <a:lumOff val="8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lIns="0" r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6" name="五角星 25">
            <a:extLst>
              <a:ext uri="{FF2B5EF4-FFF2-40B4-BE49-F238E27FC236}">
                <a16:creationId xmlns:a16="http://schemas.microsoft.com/office/drawing/2014/main" id="{3F39D0C4-FDA5-9849-9FDD-FEBEBBF70E63}"/>
              </a:ext>
            </a:extLst>
          </p:cNvPr>
          <p:cNvSpPr/>
          <p:nvPr/>
        </p:nvSpPr>
        <p:spPr>
          <a:xfrm>
            <a:off x="9254709" y="4938518"/>
            <a:ext cx="275772" cy="319314"/>
          </a:xfrm>
          <a:prstGeom prst="star5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rgbClr val="FF0000"/>
              </a:solidFill>
            </a:endParaRPr>
          </a:p>
        </p:txBody>
      </p:sp>
      <p:sp>
        <p:nvSpPr>
          <p:cNvPr id="27" name="文本框 26">
            <a:extLst>
              <a:ext uri="{FF2B5EF4-FFF2-40B4-BE49-F238E27FC236}">
                <a16:creationId xmlns:a16="http://schemas.microsoft.com/office/drawing/2014/main" id="{7D01E626-6B9D-8945-A58C-6A4175CDC491}"/>
              </a:ext>
            </a:extLst>
          </p:cNvPr>
          <p:cNvSpPr txBox="1"/>
          <p:nvPr/>
        </p:nvSpPr>
        <p:spPr>
          <a:xfrm>
            <a:off x="4551811" y="2650344"/>
            <a:ext cx="103284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019.8.15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8" name="文本框 27">
            <a:extLst>
              <a:ext uri="{FF2B5EF4-FFF2-40B4-BE49-F238E27FC236}">
                <a16:creationId xmlns:a16="http://schemas.microsoft.com/office/drawing/2014/main" id="{0E33DCCF-5771-B24F-8879-0C32716459CD}"/>
              </a:ext>
            </a:extLst>
          </p:cNvPr>
          <p:cNvSpPr txBox="1"/>
          <p:nvPr/>
        </p:nvSpPr>
        <p:spPr>
          <a:xfrm>
            <a:off x="5295846" y="3264501"/>
            <a:ext cx="103284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019.8.30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9" name="文本框 28">
            <a:extLst>
              <a:ext uri="{FF2B5EF4-FFF2-40B4-BE49-F238E27FC236}">
                <a16:creationId xmlns:a16="http://schemas.microsoft.com/office/drawing/2014/main" id="{65387644-64C7-7240-8C4D-89AE8DA7BF43}"/>
              </a:ext>
            </a:extLst>
          </p:cNvPr>
          <p:cNvSpPr txBox="1"/>
          <p:nvPr/>
        </p:nvSpPr>
        <p:spPr>
          <a:xfrm>
            <a:off x="7663249" y="3855661"/>
            <a:ext cx="103284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019.10.15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0" name="文本框 29">
            <a:extLst>
              <a:ext uri="{FF2B5EF4-FFF2-40B4-BE49-F238E27FC236}">
                <a16:creationId xmlns:a16="http://schemas.microsoft.com/office/drawing/2014/main" id="{AF6ACDE9-E79C-FE4F-A813-7D9853297556}"/>
              </a:ext>
            </a:extLst>
          </p:cNvPr>
          <p:cNvSpPr txBox="1"/>
          <p:nvPr/>
        </p:nvSpPr>
        <p:spPr>
          <a:xfrm>
            <a:off x="8391754" y="4375840"/>
            <a:ext cx="103284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019.10.30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1" name="文本框 30">
            <a:extLst>
              <a:ext uri="{FF2B5EF4-FFF2-40B4-BE49-F238E27FC236}">
                <a16:creationId xmlns:a16="http://schemas.microsoft.com/office/drawing/2014/main" id="{D36A85E4-B1B2-094A-A749-8852C82FCCEB}"/>
              </a:ext>
            </a:extLst>
          </p:cNvPr>
          <p:cNvSpPr txBox="1"/>
          <p:nvPr/>
        </p:nvSpPr>
        <p:spPr>
          <a:xfrm>
            <a:off x="9571722" y="4996277"/>
            <a:ext cx="103284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019.11.15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2" name="文本框 31">
            <a:extLst>
              <a:ext uri="{FF2B5EF4-FFF2-40B4-BE49-F238E27FC236}">
                <a16:creationId xmlns:a16="http://schemas.microsoft.com/office/drawing/2014/main" id="{137E57B4-1B89-C140-93B6-66C450526C34}"/>
              </a:ext>
            </a:extLst>
          </p:cNvPr>
          <p:cNvSpPr txBox="1"/>
          <p:nvPr/>
        </p:nvSpPr>
        <p:spPr>
          <a:xfrm>
            <a:off x="11138739" y="5593871"/>
            <a:ext cx="103284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019.12.30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33" name="组合 32">
            <a:extLst>
              <a:ext uri="{FF2B5EF4-FFF2-40B4-BE49-F238E27FC236}">
                <a16:creationId xmlns:a16="http://schemas.microsoft.com/office/drawing/2014/main" id="{CE3BA554-A112-5640-A942-08012605E645}"/>
              </a:ext>
            </a:extLst>
          </p:cNvPr>
          <p:cNvGrpSpPr/>
          <p:nvPr/>
        </p:nvGrpSpPr>
        <p:grpSpPr>
          <a:xfrm>
            <a:off x="3029403" y="1847144"/>
            <a:ext cx="848851" cy="4811137"/>
            <a:chOff x="1492481" y="1685336"/>
            <a:chExt cx="848851" cy="4821188"/>
          </a:xfrm>
        </p:grpSpPr>
        <p:grpSp>
          <p:nvGrpSpPr>
            <p:cNvPr id="34" name="组合 33">
              <a:extLst>
                <a:ext uri="{FF2B5EF4-FFF2-40B4-BE49-F238E27FC236}">
                  <a16:creationId xmlns:a16="http://schemas.microsoft.com/office/drawing/2014/main" id="{9DE35E28-1E3A-154A-AF75-F3FC6830B9D3}"/>
                </a:ext>
              </a:extLst>
            </p:cNvPr>
            <p:cNvGrpSpPr/>
            <p:nvPr/>
          </p:nvGrpSpPr>
          <p:grpSpPr>
            <a:xfrm>
              <a:off x="1642725" y="1685336"/>
              <a:ext cx="226056" cy="4493411"/>
              <a:chOff x="1642725" y="1685336"/>
              <a:chExt cx="226056" cy="4493411"/>
            </a:xfrm>
          </p:grpSpPr>
          <p:cxnSp>
            <p:nvCxnSpPr>
              <p:cNvPr id="36" name="直接连接符 77">
                <a:extLst>
                  <a:ext uri="{FF2B5EF4-FFF2-40B4-BE49-F238E27FC236}">
                    <a16:creationId xmlns:a16="http://schemas.microsoft.com/office/drawing/2014/main" id="{AF7222E1-5D60-D84A-A44C-7DE09E042004}"/>
                  </a:ext>
                </a:extLst>
              </p:cNvPr>
              <p:cNvCxnSpPr/>
              <p:nvPr/>
            </p:nvCxnSpPr>
            <p:spPr>
              <a:xfrm>
                <a:off x="1740921" y="1685336"/>
                <a:ext cx="29656" cy="4176000"/>
              </a:xfrm>
              <a:prstGeom prst="line">
                <a:avLst/>
              </a:prstGeom>
              <a:ln w="12700">
                <a:solidFill>
                  <a:srgbClr val="FF0000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7" name="等腰三角形 78">
                <a:extLst>
                  <a:ext uri="{FF2B5EF4-FFF2-40B4-BE49-F238E27FC236}">
                    <a16:creationId xmlns:a16="http://schemas.microsoft.com/office/drawing/2014/main" id="{CD503FA7-247A-6949-A488-D80C3762530D}"/>
                  </a:ext>
                </a:extLst>
              </p:cNvPr>
              <p:cNvSpPr/>
              <p:nvPr/>
            </p:nvSpPr>
            <p:spPr>
              <a:xfrm>
                <a:off x="1642725" y="5944704"/>
                <a:ext cx="226056" cy="234043"/>
              </a:xfrm>
              <a:prstGeom prst="triangle">
                <a:avLst/>
              </a:prstGeom>
              <a:solidFill>
                <a:srgbClr val="FF0000"/>
              </a:solidFill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sp>
          <p:nvSpPr>
            <p:cNvPr id="35" name="文本框 34">
              <a:extLst>
                <a:ext uri="{FF2B5EF4-FFF2-40B4-BE49-F238E27FC236}">
                  <a16:creationId xmlns:a16="http://schemas.microsoft.com/office/drawing/2014/main" id="{DDC32D63-A885-0840-B6FF-607A6D44004C}"/>
                </a:ext>
              </a:extLst>
            </p:cNvPr>
            <p:cNvSpPr txBox="1"/>
            <p:nvPr/>
          </p:nvSpPr>
          <p:spPr>
            <a:xfrm>
              <a:off x="1492481" y="6198747"/>
              <a:ext cx="848851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4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当前</a:t>
              </a:r>
            </a:p>
          </p:txBody>
        </p:sp>
      </p:grpSp>
      <p:sp>
        <p:nvSpPr>
          <p:cNvPr id="2" name="文本框 1">
            <a:extLst>
              <a:ext uri="{FF2B5EF4-FFF2-40B4-BE49-F238E27FC236}">
                <a16:creationId xmlns:a16="http://schemas.microsoft.com/office/drawing/2014/main" id="{C56FC4A9-AB04-7F48-840C-49BF1AE5B246}"/>
              </a:ext>
            </a:extLst>
          </p:cNvPr>
          <p:cNvSpPr txBox="1"/>
          <p:nvPr/>
        </p:nvSpPr>
        <p:spPr>
          <a:xfrm>
            <a:off x="505328" y="925803"/>
            <a:ext cx="772519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400" dirty="0"/>
              <a:t>该计划为第一阶段标准化模块开发计划，第二阶段开发计划根据业务标准化梳理情况另行约定。</a:t>
            </a:r>
          </a:p>
        </p:txBody>
      </p:sp>
      <p:sp>
        <p:nvSpPr>
          <p:cNvPr id="40" name="矩形 39">
            <a:extLst>
              <a:ext uri="{FF2B5EF4-FFF2-40B4-BE49-F238E27FC236}">
                <a16:creationId xmlns:a16="http://schemas.microsoft.com/office/drawing/2014/main" id="{49C30016-3A9B-7A4B-BDB7-A2C233798E12}"/>
              </a:ext>
            </a:extLst>
          </p:cNvPr>
          <p:cNvSpPr/>
          <p:nvPr/>
        </p:nvSpPr>
        <p:spPr>
          <a:xfrm>
            <a:off x="302818" y="2066294"/>
            <a:ext cx="1504178" cy="465517"/>
          </a:xfrm>
          <a:prstGeom prst="rect">
            <a:avLst/>
          </a:prstGeom>
          <a:solidFill>
            <a:srgbClr val="4F81BD">
              <a:lumMod val="20000"/>
              <a:lumOff val="80000"/>
            </a:srgbClr>
          </a:solidFill>
          <a:ln w="317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项目启动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1" name="五边形 40">
            <a:extLst>
              <a:ext uri="{FF2B5EF4-FFF2-40B4-BE49-F238E27FC236}">
                <a16:creationId xmlns:a16="http://schemas.microsoft.com/office/drawing/2014/main" id="{7B1DDE96-5DF7-4A4E-B454-D41EAE994637}"/>
              </a:ext>
            </a:extLst>
          </p:cNvPr>
          <p:cNvSpPr/>
          <p:nvPr/>
        </p:nvSpPr>
        <p:spPr>
          <a:xfrm>
            <a:off x="1830136" y="2074536"/>
            <a:ext cx="1529006" cy="377130"/>
          </a:xfrm>
          <a:prstGeom prst="homePlate">
            <a:avLst>
              <a:gd name="adj" fmla="val 19154"/>
            </a:avLst>
          </a:prstGeom>
          <a:solidFill>
            <a:srgbClr val="FFC000"/>
          </a:solidFill>
          <a:ln w="25400" cap="flat" cmpd="sng" algn="ctr">
            <a:noFill/>
            <a:prstDash val="solid"/>
          </a:ln>
          <a:effectLst/>
        </p:spPr>
        <p:txBody>
          <a:bodyPr lIns="0" rIns="36000" rtlCol="0" anchor="ctr"/>
          <a:lstStyle/>
          <a:p>
            <a:pPr algn="ctr"/>
            <a:endParaRPr lang="zh-CN" altLang="en-US" sz="14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2" name="文本框 41">
            <a:extLst>
              <a:ext uri="{FF2B5EF4-FFF2-40B4-BE49-F238E27FC236}">
                <a16:creationId xmlns:a16="http://schemas.microsoft.com/office/drawing/2014/main" id="{8BD73F54-6E89-E449-890F-56F133665E1A}"/>
              </a:ext>
            </a:extLst>
          </p:cNvPr>
          <p:cNvSpPr txBox="1"/>
          <p:nvPr/>
        </p:nvSpPr>
        <p:spPr>
          <a:xfrm>
            <a:off x="3418018" y="2117471"/>
            <a:ext cx="103284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019.7.23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43" name="直接连接符 38">
            <a:extLst>
              <a:ext uri="{FF2B5EF4-FFF2-40B4-BE49-F238E27FC236}">
                <a16:creationId xmlns:a16="http://schemas.microsoft.com/office/drawing/2014/main" id="{6C04C0A2-4438-8742-8CB3-D1424F02B6DA}"/>
              </a:ext>
            </a:extLst>
          </p:cNvPr>
          <p:cNvCxnSpPr>
            <a:cxnSpLocks/>
          </p:cNvCxnSpPr>
          <p:nvPr/>
        </p:nvCxnSpPr>
        <p:spPr>
          <a:xfrm>
            <a:off x="3535940" y="1814688"/>
            <a:ext cx="57340" cy="468000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722836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984</TotalTime>
  <Words>1743</Words>
  <Application>Microsoft Office PowerPoint</Application>
  <PresentationFormat>宽屏</PresentationFormat>
  <Paragraphs>345</Paragraphs>
  <Slides>13</Slides>
  <Notes>9</Notes>
  <HiddenSlides>0</HiddenSlides>
  <MMClips>0</MMClips>
  <ScaleCrop>false</ScaleCrop>
  <HeadingPairs>
    <vt:vector size="8" baseType="variant">
      <vt:variant>
        <vt:lpstr>已用的字体</vt:lpstr>
      </vt:variant>
      <vt:variant>
        <vt:i4>10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3</vt:i4>
      </vt:variant>
    </vt:vector>
  </HeadingPairs>
  <TitlesOfParts>
    <vt:vector size="26" baseType="lpstr">
      <vt:lpstr>等线</vt:lpstr>
      <vt:lpstr>等线 Light</vt:lpstr>
      <vt:lpstr>方正兰亭纤黑简体</vt:lpstr>
      <vt:lpstr>宋体</vt:lpstr>
      <vt:lpstr>微软雅黑</vt:lpstr>
      <vt:lpstr>微软雅黑</vt:lpstr>
      <vt:lpstr>Arial</vt:lpstr>
      <vt:lpstr>Calibri</vt:lpstr>
      <vt:lpstr>Calibri Light</vt:lpstr>
      <vt:lpstr>Wingdings</vt:lpstr>
      <vt:lpstr>Office 主题​​</vt:lpstr>
      <vt:lpstr>Office 主题</vt:lpstr>
      <vt:lpstr>think-cell Slide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正视项目实施客观规律，保持信心！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设计协同办公平台</dc:title>
  <dc:creator>cs268</dc:creator>
  <cp:lastModifiedBy>airry yuan</cp:lastModifiedBy>
  <cp:revision>129</cp:revision>
  <dcterms:created xsi:type="dcterms:W3CDTF">2019-07-18T06:32:21Z</dcterms:created>
  <dcterms:modified xsi:type="dcterms:W3CDTF">2019-07-23T09:33:12Z</dcterms:modified>
</cp:coreProperties>
</file>